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jpeg" ContentType="image/jpeg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1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theme/theme2.xml" ContentType="application/vnd.openxmlformats-officedocument.theme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60" r:id="rId3"/>
    <p:sldMasterId id="2147483672" r:id="rId4"/>
    <p:sldMasterId id="2147483684" r:id="rId5"/>
    <p:sldMasterId id="2147483696" r:id="rId6"/>
    <p:sldMasterId id="2147483709" r:id="rId7"/>
    <p:sldMasterId id="2147483721" r:id="rId8"/>
    <p:sldMasterId id="2147483733" r:id="rId9"/>
    <p:sldMasterId id="2147483745" r:id="rId10"/>
    <p:sldMasterId id="2147483757" r:id="rId11"/>
    <p:sldMasterId id="2147483770" r:id="rId12"/>
    <p:sldMasterId id="2147483782" r:id="rId13"/>
    <p:sldMasterId id="2147483796" r:id="rId14"/>
    <p:sldMasterId id="2147483810" r:id="rId15"/>
    <p:sldMasterId id="2147483822" r:id="rId16"/>
    <p:sldMasterId id="2147483835" r:id="rId17"/>
    <p:sldMasterId id="2147483847" r:id="rId18"/>
    <p:sldMasterId id="2147483859" r:id="rId19"/>
    <p:sldMasterId id="2147483862" r:id="rId20"/>
    <p:sldMasterId id="2147483876" r:id="rId21"/>
  </p:sldMasterIdLst>
  <p:notesMasterIdLst>
    <p:notesMasterId r:id="rId23"/>
  </p:notesMasterIdLst>
  <p:handoutMasterIdLst>
    <p:handoutMasterId r:id="rId28"/>
  </p:handoutMasterIdLst>
  <p:sldIdLst>
    <p:sldId id="1762" r:id="rId22"/>
    <p:sldId id="1758" r:id="rId24"/>
    <p:sldId id="1774" r:id="rId25"/>
    <p:sldId id="1770" r:id="rId26"/>
    <p:sldId id="1775" r:id="rId27"/>
  </p:sldIdLst>
  <p:sldSz cx="9144000" cy="6858000" type="screen4x3"/>
  <p:notesSz cx="6797675" cy="992632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5961FFB-52ED-452A-8189-CD3EE54FDD52}">
          <p14:sldIdLst>
            <p14:sldId id="1758"/>
            <p14:sldId id="1774"/>
            <p14:sldId id="1770"/>
            <p14:sldId id="1775"/>
            <p14:sldId id="1762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s" initials="s" lastIdx="7" clrIdx="0"/>
  <p:cmAuthor id="1" name="Admin" initials="A" lastIdx="0" clrIdx="1"/>
  <p:cmAuthor id="2" name="Помилуйко Ирина Сергеевна" initials="ПИС" lastIdx="1" clrIdx="2"/>
  <p:cmAuthor id="3" name="Rosatom" initials="R" lastIdx="1" clrIdx="3"/>
  <p:cmAuthor id="4" name="Титова Елена Сергеевна" initials="ТЕС" lastIdx="1" clrIdx="4"/>
  <p:cmAuthor id="5" name="nata_pravda@outlook.com" initials="n" lastIdx="22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658E"/>
    <a:srgbClr val="A3CAE7"/>
    <a:srgbClr val="ECF4FA"/>
    <a:srgbClr val="C9E0FF"/>
    <a:srgbClr val="C9EEFF"/>
    <a:srgbClr val="F0E770"/>
    <a:srgbClr val="008E40"/>
    <a:srgbClr val="A6D86E"/>
    <a:srgbClr val="B9C6FD"/>
    <a:srgbClr val="D7EA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50" autoAdjust="0"/>
    <p:restoredTop sz="96244" autoAdjust="0"/>
  </p:normalViewPr>
  <p:slideViewPr>
    <p:cSldViewPr>
      <p:cViewPr>
        <p:scale>
          <a:sx n="110" d="100"/>
          <a:sy n="110" d="100"/>
        </p:scale>
        <p:origin x="-1962" y="-240"/>
      </p:cViewPr>
      <p:guideLst>
        <p:guide orient="horz" pos="2704"/>
        <p:guide pos="3107"/>
        <p:guide pos="2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8928"/>
    </p:cViewPr>
  </p:sorterViewPr>
  <p:notesViewPr>
    <p:cSldViewPr>
      <p:cViewPr>
        <p:scale>
          <a:sx n="150" d="100"/>
          <a:sy n="150" d="100"/>
        </p:scale>
        <p:origin x="-978" y="3666"/>
      </p:cViewPr>
      <p:guideLst>
        <p:guide orient="horz" pos="3106"/>
        <p:guide orient="horz" pos="3129"/>
        <p:guide pos="2118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Master" Target="slideMasters/slideMaster8.xml"/><Relationship Id="rId8" Type="http://schemas.openxmlformats.org/officeDocument/2006/relationships/slideMaster" Target="slideMasters/slideMaster7.xml"/><Relationship Id="rId7" Type="http://schemas.openxmlformats.org/officeDocument/2006/relationships/slideMaster" Target="slideMasters/slideMaster6.xml"/><Relationship Id="rId6" Type="http://schemas.openxmlformats.org/officeDocument/2006/relationships/slideMaster" Target="slideMasters/slideMaster5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2" Type="http://schemas.openxmlformats.org/officeDocument/2006/relationships/commentAuthors" Target="commentAuthors.xml"/><Relationship Id="rId31" Type="http://schemas.openxmlformats.org/officeDocument/2006/relationships/tableStyles" Target="tableStyles.xml"/><Relationship Id="rId30" Type="http://schemas.openxmlformats.org/officeDocument/2006/relationships/viewProps" Target="viewProps.xml"/><Relationship Id="rId3" Type="http://schemas.openxmlformats.org/officeDocument/2006/relationships/slideMaster" Target="slideMasters/slideMaster2.xml"/><Relationship Id="rId29" Type="http://schemas.openxmlformats.org/officeDocument/2006/relationships/presProps" Target="presProps.xml"/><Relationship Id="rId28" Type="http://schemas.openxmlformats.org/officeDocument/2006/relationships/handoutMaster" Target="handoutMasters/handoutMaster1.xml"/><Relationship Id="rId27" Type="http://schemas.openxmlformats.org/officeDocument/2006/relationships/slide" Target="slides/slide5.xml"/><Relationship Id="rId26" Type="http://schemas.openxmlformats.org/officeDocument/2006/relationships/slide" Target="slides/slide4.xml"/><Relationship Id="rId25" Type="http://schemas.openxmlformats.org/officeDocument/2006/relationships/slide" Target="slides/slide3.xml"/><Relationship Id="rId24" Type="http://schemas.openxmlformats.org/officeDocument/2006/relationships/slide" Target="slides/slide2.xml"/><Relationship Id="rId23" Type="http://schemas.openxmlformats.org/officeDocument/2006/relationships/notesMaster" Target="notesMasters/notesMaster1.xml"/><Relationship Id="rId22" Type="http://schemas.openxmlformats.org/officeDocument/2006/relationships/slide" Target="slides/slide1.xml"/><Relationship Id="rId21" Type="http://schemas.openxmlformats.org/officeDocument/2006/relationships/slideMaster" Target="slideMasters/slideMaster20.xml"/><Relationship Id="rId20" Type="http://schemas.openxmlformats.org/officeDocument/2006/relationships/slideMaster" Target="slideMasters/slideMaster19.xml"/><Relationship Id="rId2" Type="http://schemas.openxmlformats.org/officeDocument/2006/relationships/theme" Target="theme/theme1.xml"/><Relationship Id="rId19" Type="http://schemas.openxmlformats.org/officeDocument/2006/relationships/slideMaster" Target="slideMasters/slideMaster18.xml"/><Relationship Id="rId18" Type="http://schemas.openxmlformats.org/officeDocument/2006/relationships/slideMaster" Target="slideMasters/slideMaster17.xml"/><Relationship Id="rId17" Type="http://schemas.openxmlformats.org/officeDocument/2006/relationships/slideMaster" Target="slideMasters/slideMaster16.xml"/><Relationship Id="rId16" Type="http://schemas.openxmlformats.org/officeDocument/2006/relationships/slideMaster" Target="slideMasters/slideMaster15.xml"/><Relationship Id="rId15" Type="http://schemas.openxmlformats.org/officeDocument/2006/relationships/slideMaster" Target="slideMasters/slideMaster14.xml"/><Relationship Id="rId14" Type="http://schemas.openxmlformats.org/officeDocument/2006/relationships/slideMaster" Target="slideMasters/slideMaster13.xml"/><Relationship Id="rId13" Type="http://schemas.openxmlformats.org/officeDocument/2006/relationships/slideMaster" Target="slideMasters/slideMaster12.xml"/><Relationship Id="rId12" Type="http://schemas.openxmlformats.org/officeDocument/2006/relationships/slideMaster" Target="slideMasters/slideMaster11.xml"/><Relationship Id="rId11" Type="http://schemas.openxmlformats.org/officeDocument/2006/relationships/slideMaster" Target="slideMasters/slideMaster10.xml"/><Relationship Id="rId10" Type="http://schemas.openxmlformats.org/officeDocument/2006/relationships/slideMaster" Target="slideMasters/slideMaster9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6C71FB-E163-47FE-A247-7B87CE2D354A}" type="datetimeFigureOut">
              <a:rPr lang="ru-RU" smtClean="0"/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70FB3E-86B6-4638-862E-B03ECFD7153E}" type="slidenum">
              <a:rPr lang="ru-RU" smtClean="0"/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1" y="13"/>
            <a:ext cx="2945659" cy="49633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328" tIns="46163" rIns="92328" bIns="46163" numCol="1" anchor="t" anchorCtr="0" compatLnSpc="1"/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73" y="13"/>
            <a:ext cx="2945659" cy="49633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328" tIns="46163" rIns="92328" bIns="46163" numCol="1" anchor="t" anchorCtr="0" compatLnSpc="1"/>
          <a:lstStyle>
            <a:lvl1pPr algn="r">
              <a:defRPr sz="1200"/>
            </a:lvl1pPr>
          </a:lstStyle>
          <a:p>
            <a:endParaRPr lang="ru-RU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  <a:effectLst/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69"/>
            <a:ext cx="5438140" cy="446698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328" tIns="46163" rIns="92328" bIns="46163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1" y="9428596"/>
            <a:ext cx="2945659" cy="49633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328" tIns="46163" rIns="92328" bIns="46163" numCol="1" anchor="b" anchorCtr="0" compatLnSpc="1"/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73" y="9428596"/>
            <a:ext cx="2945659" cy="496333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2328" tIns="46163" rIns="92328" bIns="46163" numCol="1" anchor="b" anchorCtr="0" compatLnSpc="1"/>
          <a:lstStyle>
            <a:lvl1pPr algn="r">
              <a:defRPr sz="1200"/>
            </a:lvl1pPr>
          </a:lstStyle>
          <a:p>
            <a:fld id="{5864FAE4-9723-4169-9CE8-10A7C8F50D35}" type="slidenum">
              <a:rPr lang="ru-RU"/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9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77813" y="669925"/>
            <a:ext cx="6559550" cy="4921250"/>
          </a:xfrm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1091" y="5783648"/>
            <a:ext cx="5874010" cy="362942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>
              <a:latin typeface="Arial" panose="020B060402020209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76300" y="731838"/>
            <a:ext cx="4997450" cy="3748087"/>
          </a:xfrm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248" y="4726976"/>
            <a:ext cx="4967531" cy="4479075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.vml"/><Relationship Id="rId8" Type="http://schemas.openxmlformats.org/officeDocument/2006/relationships/image" Target="../media/image23.png"/><Relationship Id="rId7" Type="http://schemas.openxmlformats.org/officeDocument/2006/relationships/image" Target="../media/image22.png"/><Relationship Id="rId6" Type="http://schemas.openxmlformats.org/officeDocument/2006/relationships/image" Target="../media/image21.png"/><Relationship Id="rId5" Type="http://schemas.openxmlformats.org/officeDocument/2006/relationships/image" Target="../media/image20.emf"/><Relationship Id="rId4" Type="http://schemas.openxmlformats.org/officeDocument/2006/relationships/image" Target="../media/image19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4" Type="http://schemas.openxmlformats.org/officeDocument/2006/relationships/hyperlink" Target="http://www.rosatom.ru/" TargetMode="External"/><Relationship Id="rId3" Type="http://schemas.openxmlformats.org/officeDocument/2006/relationships/image" Target="../media/image8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re2.jpg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2210" y="0"/>
            <a:ext cx="8581790" cy="766329"/>
          </a:xfrm>
        </p:spPr>
        <p:txBody>
          <a:bodyPr>
            <a:noAutofit/>
          </a:bodyPr>
          <a:lstStyle>
            <a:lvl1pPr>
              <a:defRPr sz="2600">
                <a:solidFill>
                  <a:srgbClr val="215BAE"/>
                </a:solidFill>
              </a:defRPr>
            </a:lvl1pPr>
          </a:lstStyle>
          <a:p>
            <a:r>
              <a:rPr lang="ru-RU" dirty="0"/>
              <a:t>Заголовок слайда</a:t>
            </a:r>
            <a:endParaRPr lang="en-US" dirty="0"/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562210" y="1015853"/>
            <a:ext cx="8063964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Изображение 12" descr="REA_logo_version3.png"/>
          <p:cNvPicPr>
            <a:picLocks noChangeAspect="1"/>
          </p:cNvPicPr>
          <p:nvPr userDrawn="1"/>
        </p:nvPicPr>
        <p:blipFill>
          <a:blip r:embed="rId3" cstate="email"/>
          <a:stretch>
            <a:fillRect/>
          </a:stretch>
        </p:blipFill>
        <p:spPr>
          <a:xfrm>
            <a:off x="562210" y="6214281"/>
            <a:ext cx="2158814" cy="379416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8520111" y="6347475"/>
            <a:ext cx="623889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EF29B0EE-84A7-4D26-B86D-316840AB9A86}" type="slidenum">
              <a:rPr lang="en-US" sz="2600" b="1" i="0" smtClean="0">
                <a:solidFill>
                  <a:schemeClr val="bg1"/>
                </a:solidFill>
              </a:rPr>
            </a:fld>
            <a:endParaRPr lang="ru-RU" sz="2600" b="1" i="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4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navigation1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5580064" y="1076327"/>
            <a:ext cx="360362" cy="360363"/>
          </a:xfrm>
          <a:prstGeom prst="ellipse">
            <a:avLst/>
          </a:prstGeom>
          <a:solidFill>
            <a:schemeClr val="bg1"/>
          </a:solidFill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003274"/>
                </a:solidFill>
              </a:rPr>
              <a:t>1</a:t>
            </a:r>
            <a:endParaRPr lang="ru-RU" sz="2400" b="1" dirty="0">
              <a:solidFill>
                <a:srgbClr val="003274"/>
              </a:solidFill>
            </a:endParaRPr>
          </a:p>
        </p:txBody>
      </p:sp>
      <p:sp>
        <p:nvSpPr>
          <p:cNvPr id="6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5892801" y="1076327"/>
            <a:ext cx="360363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2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7" name="navigation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205538" y="1076327"/>
            <a:ext cx="360362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3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8" name="navigation4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518275" y="1076327"/>
            <a:ext cx="360363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4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9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831013" y="1076327"/>
            <a:ext cx="360362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5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0" name="navigation6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143750" y="1076327"/>
            <a:ext cx="360363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6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1" name="navigation7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456489" y="1076327"/>
            <a:ext cx="360362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rgbClr val="FFFFFF"/>
                </a:solidFill>
              </a:rPr>
              <a:t>7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2" name="Oval 13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769226" y="1076327"/>
            <a:ext cx="360363" cy="360363"/>
          </a:xfrm>
          <a:prstGeom prst="ellipse">
            <a:avLst/>
          </a:prstGeom>
          <a:noFill/>
          <a:ln w="28575">
            <a:noFill/>
            <a:rou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sz="2400" b="1" dirty="0">
                <a:solidFill>
                  <a:srgbClr val="FFFFFF"/>
                </a:solidFill>
              </a:rPr>
              <a:t>8</a:t>
            </a:r>
            <a:endParaRPr lang="ru-RU" sz="2400" b="1" dirty="0">
              <a:solidFill>
                <a:srgbClr val="FFFFFF"/>
              </a:solidFill>
            </a:endParaRPr>
          </a:p>
        </p:txBody>
      </p:sp>
      <p:sp>
        <p:nvSpPr>
          <p:cNvPr id="1044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9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044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9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split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EEFEA-3023-4A04-9A9E-BB536AF37F5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4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4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76BA4F-BF08-4CD5-B53C-93FFC9B839B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4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1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D30ED2-61C5-4ADC-8D39-35ED3582806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C268A0-F684-40D5-BD6F-FF7EAAF040B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EE279B-3F16-4C21-AA23-33FDFFDD36E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C74764-A741-4C0F-8158-E9CA3E69BE7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10244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1024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anose="020B0604020202090204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anose="020B0604020202090204" pitchFamily="34" charset="0"/>
            </a:endParaRPr>
          </a:p>
        </p:txBody>
      </p:sp>
    </p:spTree>
  </p:cSld>
  <p:clrMapOvr>
    <a:masterClrMapping/>
  </p:clrMapOvr>
  <p:transition>
    <p:split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A279B9-6729-4975-BE12-1D7C3889B60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8FB96F-CAA8-43DA-AC43-15BABE0449FC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2D9A9C-59E1-44CA-8EE2-83150B43275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1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5F14F1-174B-4649-B092-E517EFD3901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B78713-A8BC-4BC4-8D16-93D88FF99F1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8780A3-EA2A-4787-B6BB-021FD5656B5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0D3EAC-2776-4EBF-8D73-1082020FEE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DE46FD-6426-4160-9710-0682E0228C0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383196-824B-4052-B4CD-6509546A76A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124F1F2-6FF9-4637-BF9E-F181EF68C2A6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CF9EF9-DFBF-42D2-8CE4-4D89E521240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FF8B03-3AF7-4DE3-87B7-2C0810F1FA31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650C4A-AAA6-448A-A3B8-50BC985E196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8DC42F-8B76-4B06-A823-66F4217DAF81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C28B3B-6912-4747-9303-5C4C7F25200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0"/>
            <a:ext cx="8424862" cy="6273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C12177-07D0-481F-80E3-F9E047B0CB4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38A7A69-1317-4670-9258-BE1F3A044A15}" type="datetime1">
              <a:rPr lang="ru-RU" smtClean="0"/>
            </a:fld>
            <a:endParaRPr lang="ru-RU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B99CB5-857C-43CE-A641-FDF44BE69B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2F0219C-A8B3-4DA9-8692-DFDF24EE917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/>
          <p:nvPr userDrawn="1"/>
        </p:nvSpPr>
        <p:spPr bwMode="auto">
          <a:xfrm>
            <a:off x="8688388" y="6826250"/>
            <a:ext cx="174625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ru-RU" sz="900" dirty="0">
                <a:solidFill>
                  <a:srgbClr val="414142"/>
                </a:solidFill>
              </a:rPr>
              <a:t>‹#›</a:t>
            </a:r>
            <a:endParaRPr lang="en-US" altLang="ru-RU" sz="900" dirty="0">
              <a:solidFill>
                <a:srgbClr val="414142"/>
              </a:solidFill>
            </a:endParaRPr>
          </a:p>
          <a:p>
            <a:pPr algn="r" eaLnBrk="1" hangingPunct="1">
              <a:defRPr/>
            </a:pPr>
            <a:endParaRPr lang="en-US" altLang="ru-RU" sz="900" dirty="0">
              <a:solidFill>
                <a:srgbClr val="414142"/>
              </a:solidFill>
            </a:endParaRPr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79388" y="115888"/>
            <a:ext cx="925512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2426"/>
            <a:ext cx="681728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5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latin typeface="Arial" panose="020B0604020202090204" pitchFamily="34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4964636-4CF8-43F1-A901-D975EC239D09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FBB240-A293-489C-995D-4C8BC8CFA49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CD7A26-20E6-40D4-8107-CB599C6493F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CF0234-0A6C-4053-B845-D06B3CFD247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CA5CE0-5BD0-48B8-BD36-EB78D4FDE819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D4E282-A076-4470-AE77-4B85D4BF114E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8D7C9B-30AA-4CA1-A55A-299A97B3113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CCF09E-86E2-40ED-B872-16E61CC51DAE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FEB83F-2AE9-4488-B631-E67874D202A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5CD1E0-223F-4042-B068-7B680642583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AA4C038-C9BD-4E00-90EE-24CECB55C79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9A6143-EC3F-4ED4-AA3F-673D5B8E033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437E39-479F-4551-8FB3-44231663ACF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EAC4BD-9E4D-4D69-AD27-F607B10D5EAE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408278-1A58-4A51-9ABE-F8CAE813B97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94465D-5B49-4AF0-A007-57F78C73162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2DF2E9-28A8-472C-95C1-BCDC61688F0C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6AE515-AB3E-46A4-9773-B9EA8789F80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172910-4814-4A29-8D96-040027BE2058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BBE5EF-8335-4AB4-9213-31C370382D5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279759B-BB9C-4C68-8523-3D0AFC6AC4A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128788-CA80-4A4C-B84B-BE01383D30E7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D17BE7-08E5-443D-A9F9-E6F23C6B029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68313" y="0"/>
            <a:ext cx="8424862" cy="6273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CB95EE-C39F-4371-90A3-ED2311CBA5B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77" y="293691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79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802" y="3284539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5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0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7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59F6B0-C365-44D4-87F2-F6FB45A58E49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7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69" y="293691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8" y="2181299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93" y="3284539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5" name="navigation8" descr="ujkm,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69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7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49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87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D91610A-83CF-4227-8B03-ADAD4D94780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6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6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 smtClean="0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4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"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4" y="1624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  <a:endParaRPr lang="ru-RU" sz="900" b="1" dirty="0">
              <a:solidFill>
                <a:srgbClr val="000000"/>
              </a:solidFill>
            </a:endParaRP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algn="r" defTabSz="913765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508604"/>
            <a:ext cx="3264776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9" y="668959"/>
            <a:ext cx="2872217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21" y="5030931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21" y="5304665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4" y="4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66" tIns="46633" rIns="93266" bIns="46633" anchor="ctr"/>
          <a:lstStyle/>
          <a:p>
            <a:pPr defTabSz="913765"/>
            <a:endParaRPr lang="ru-RU" sz="1600" dirty="0">
              <a:solidFill>
                <a:srgbClr val="000000"/>
              </a:solidFill>
              <a:latin typeface="Arial" panose="020B0604020202090204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320063" y="6574549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0718" y="2919391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50718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293136" y="4617893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2959" y="194373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2050722" y="2119331"/>
            <a:ext cx="1255377" cy="90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8568903" y="6434905"/>
            <a:ext cx="541731" cy="439639"/>
          </a:xfrm>
          <a:prstGeom prst="rect">
            <a:avLst/>
          </a:prstGeom>
        </p:spPr>
        <p:txBody>
          <a:bodyPr wrap="none" lIns="93276" tIns="46638" rIns="93276" bIns="46638">
            <a:spAutoFit/>
          </a:bodyPr>
          <a:lstStyle/>
          <a:p>
            <a:pPr defTabSz="913765"/>
            <a:fld id="{3F385F46-FE36-43E0-8AEF-AC9950742405}" type="slidenum">
              <a:rPr lang="ru-RU" sz="2200" smtClean="0">
                <a:solidFill>
                  <a:srgbClr val="003274"/>
                </a:solidFill>
                <a:latin typeface="Arial" panose="020B0604020202090204"/>
              </a:rPr>
            </a:fld>
            <a:endParaRPr lang="ru-RU" sz="2200" dirty="0">
              <a:solidFill>
                <a:srgbClr val="000000"/>
              </a:solidFill>
              <a:latin typeface="Arial" panose="020B0604020202090204"/>
            </a:endParaRPr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9F2D06-4B28-4EB4-9F90-08B85D6AB980}" type="datetime1">
              <a:rPr lang="ru-RU" smtClean="0"/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1399F5-BADA-4B36-AEBD-BAE89375B9F8}" type="slidenum">
              <a:rPr lang="ru-RU" smtClean="0"/>
            </a:fld>
            <a:endParaRPr lang="ru-RU" dirty="0"/>
          </a:p>
        </p:txBody>
      </p:sp>
      <p:pic>
        <p:nvPicPr>
          <p:cNvPr id="7" name="navigation8" descr="ujkm,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F1F809-6532-4D22-837B-5F2507EAB8EF}" type="datetime1">
              <a:rPr lang="ru-RU" smtClean="0"/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8511F-4FF0-4561-891C-7BBC67922174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ED830-1BBB-45BC-B204-1BD1E33682F9}" type="datetime1">
              <a:rPr lang="ru-RU" smtClean="0"/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E8DE3E-B843-40C0-893B-3A35DA17BFEB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C12AFCB-AB72-4856-A2F2-B569ED688A0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E40DF-D56A-468F-9D99-5ECEBB6053EA}" type="datetime1">
              <a:rPr lang="ru-RU" smtClean="0"/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BC6261-8784-4175-B0D1-639E4FB629CB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43E6A-019C-4519-80A3-DC199CDCDD4A}" type="datetime1">
              <a:rPr lang="ru-RU" smtClean="0"/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C7A086-8207-4EB0-B7D7-B01A4510EC13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073D8-3B08-4E3F-8E65-36CE373236AA}" type="datetime1">
              <a:rPr lang="ru-RU" smtClean="0"/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41163F-0EDC-4F72-A93E-A2C935F8D5D2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E1CDA6-AEB1-42C0-9A5F-55E6EA5CD6FE}" type="datetime1">
              <a:rPr lang="ru-RU" smtClean="0"/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4F25FE-31FB-4D95-9159-CD3AC039AFF6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C6D37-E8F6-4C99-9F02-69FD41AF53A8}" type="datetime1">
              <a:rPr lang="ru-RU" smtClean="0"/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2C6A24-F428-47B5-8CD5-F95B8372AD94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EFAAA3-85AE-4CF3-8989-3FA4DE00E454}" type="datetime1">
              <a:rPr lang="ru-RU" smtClean="0"/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45C353-A132-4C4E-A23F-5E008E9AB163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81A8A-945F-4D77-B3CF-19AF399A42E1}" type="datetime1">
              <a:rPr lang="ru-RU" smtClean="0"/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F4C144-FA45-4983-B864-46D2F3CCFECD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5FC9BE-8BCA-48DE-AA40-78DDD1DDBFA0}" type="datetime1">
              <a:rPr lang="ru-RU" smtClean="0"/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8BE43-CDC8-4A1D-9202-20DC25374369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/>
          <p:nvPr userDrawn="1"/>
        </p:nvSpPr>
        <p:spPr bwMode="auto">
          <a:xfrm>
            <a:off x="8688388" y="6826250"/>
            <a:ext cx="174625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ru-RU" sz="900" dirty="0">
                <a:solidFill>
                  <a:srgbClr val="414142"/>
                </a:solidFill>
              </a:rPr>
              <a:t>‹#›</a:t>
            </a:r>
            <a:endParaRPr lang="en-US" altLang="ru-RU" sz="900" dirty="0">
              <a:solidFill>
                <a:srgbClr val="414142"/>
              </a:solidFill>
            </a:endParaRPr>
          </a:p>
          <a:p>
            <a:pPr algn="r" eaLnBrk="1" hangingPunct="1">
              <a:defRPr/>
            </a:pPr>
            <a:endParaRPr lang="en-US" altLang="ru-RU" sz="900" dirty="0">
              <a:solidFill>
                <a:srgbClr val="414142"/>
              </a:solidFill>
            </a:endParaRPr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79388" y="115888"/>
            <a:ext cx="925512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/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0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F5AD4FB-195D-4824-9DCA-C935451C97A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FB1AA17-3238-46F2-B51F-12E5145C30E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2426"/>
            <a:ext cx="681728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5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latin typeface="Arial" panose="020B0604020202090204" pitchFamily="34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86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28677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anose="020B0604020202090204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anose="020B0604020202090204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619757" y="1198773"/>
            <a:ext cx="1879610" cy="365126"/>
            <a:chOff x="5580063" y="1076325"/>
            <a:chExt cx="1879610" cy="365126"/>
          </a:xfrm>
        </p:grpSpPr>
        <p:sp>
          <p:nvSpPr>
            <p:cNvPr id="10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099311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1196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199192" y="1081088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3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F29FA2-1520-478E-AF9E-BAA4CD04FBE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A2FB20B-F89F-41E4-94A9-71917891D25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E377D9F-5A26-4CB6-82A0-7D2E6011D53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6D090AC-9A7A-4070-BA8A-812C43F115A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B73E87F-6FBA-4E4E-885D-8A3712AB59F6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DD8CCC4-086C-43A9-A3FC-51A043EEADB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7AAFD0C-7A7F-4BED-9477-BB2868116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5B3385A-D17A-44E8-9D2C-152CA88682A5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211A97E-C877-400F-9B79-73DCB6E256A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B9C9F55-5523-4322-9DEE-23C689F6064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2772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32773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anose="020B0604020202090204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anose="020B0604020202090204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634045" y="1190609"/>
            <a:ext cx="1879611" cy="374653"/>
            <a:chOff x="5570538" y="1071558"/>
            <a:chExt cx="1879611" cy="374653"/>
          </a:xfrm>
        </p:grpSpPr>
        <p:sp>
          <p:nvSpPr>
            <p:cNvPr id="10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089787" y="1071558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70538" y="1085848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1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90D76F4-01B1-4081-BCB5-5C391BDE07A6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52460FC-B8E0-4CB2-80E4-0F03432EDCB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73A6EC6-6644-4893-BA07-0E120D2DFC7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A1E9790-7F1B-4B30-9094-B58ED56AD31E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D9CAC4D-9498-46D3-AC8C-DE5239890B1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9652F28-FB14-45E9-9047-5B101D03FCC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CFF18B0-9C34-49D7-963F-212DA0F92C6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B5E9FB2-C7A7-466D-A7C2-BD159AA53E30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05B0BD0-F387-4188-A177-65B27AD322A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60F077E-F27C-4C81-9FF1-8B8FFD1FA68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4820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</p:spPr>
      </p:pic>
      <p:sp>
        <p:nvSpPr>
          <p:cNvPr id="34821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US" sz="1400" b="1" dirty="0">
                <a:solidFill>
                  <a:schemeClr val="hlink"/>
                </a:solidFill>
                <a:cs typeface="Arial" panose="020B0604020202090204" pitchFamily="34" charset="0"/>
              </a:rPr>
              <a:t>www.rosatom.ru</a:t>
            </a:r>
            <a:endParaRPr lang="ru-RU" sz="1400" b="1" dirty="0">
              <a:solidFill>
                <a:schemeClr val="hlink"/>
              </a:solidFill>
              <a:cs typeface="Arial" panose="020B0604020202090204" pitchFamily="34" charset="0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5634044" y="1214422"/>
            <a:ext cx="1885968" cy="365126"/>
            <a:chOff x="5580063" y="1071562"/>
            <a:chExt cx="1885968" cy="365126"/>
          </a:xfrm>
        </p:grpSpPr>
        <p:sp>
          <p:nvSpPr>
            <p:cNvPr id="10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105668" y="1071562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72172" y="1076325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2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962025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68313" y="1125538"/>
            <a:ext cx="8424862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69F1B6-96DE-4708-90AE-1648652F4A5D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1_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rosatom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sp>
        <p:nvSpPr>
          <p:cNvPr id="1105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105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grpSp>
        <p:nvGrpSpPr>
          <p:cNvPr id="10" name="Группа 9"/>
          <p:cNvGrpSpPr/>
          <p:nvPr userDrawn="1"/>
        </p:nvGrpSpPr>
        <p:grpSpPr>
          <a:xfrm>
            <a:off x="5580063" y="1194011"/>
            <a:ext cx="1924068" cy="369888"/>
            <a:chOff x="5580063" y="1074732"/>
            <a:chExt cx="1924068" cy="369888"/>
          </a:xfrm>
        </p:grpSpPr>
        <p:sp>
          <p:nvSpPr>
            <p:cNvPr id="11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143768" y="1084257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491301" y="1074732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4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2_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rosatom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sp>
        <p:nvSpPr>
          <p:cNvPr id="1126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126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5637213" y="1194011"/>
            <a:ext cx="1992333" cy="369888"/>
            <a:chOff x="5580063" y="1066800"/>
            <a:chExt cx="1992333" cy="36988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66800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212034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bg1"/>
                  </a:solidFill>
                </a:rPr>
                <a:t>6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59606" y="1073152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2400" b="1" dirty="0">
                  <a:solidFill>
                    <a:schemeClr val="hlink"/>
                  </a:solidFill>
                </a:rPr>
                <a:t>5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</p:spTree>
  </p:cSld>
  <p:clrMapOvr>
    <a:masterClrMapping/>
  </p:clrMapOvr>
  <p:transition>
    <p:split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>
            <a:hlinkClick r:id="" action="ppaction://noaction"/>
          </p:cNvPr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rosatom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grpSp>
        <p:nvGrpSpPr>
          <p:cNvPr id="14" name="Группа 13"/>
          <p:cNvGrpSpPr/>
          <p:nvPr userDrawn="1"/>
        </p:nvGrpSpPr>
        <p:grpSpPr>
          <a:xfrm>
            <a:off x="5618163" y="1198789"/>
            <a:ext cx="1924050" cy="360363"/>
            <a:chOff x="5580063" y="1076325"/>
            <a:chExt cx="1924050" cy="360363"/>
          </a:xfrm>
        </p:grpSpPr>
        <p:sp>
          <p:nvSpPr>
            <p:cNvPr id="6" name="navigation1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580063" y="1076325"/>
              <a:ext cx="360362" cy="360363"/>
            </a:xfrm>
            <a:prstGeom prst="ellipse">
              <a:avLst/>
            </a:prstGeom>
            <a:noFill/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1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navigation2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5892800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2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navigation3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205538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3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518275" y="1076325"/>
              <a:ext cx="360363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4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navigation5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831013" y="1076325"/>
              <a:ext cx="360362" cy="360363"/>
            </a:xfrm>
            <a:prstGeom prst="ellipse">
              <a:avLst/>
            </a:prstGeom>
            <a:noFill/>
            <a:ln w="28575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bg1"/>
                  </a:solidFill>
                </a:rPr>
                <a:t>5</a:t>
              </a:r>
              <a:endParaRPr lang="ru-RU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navigation6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7143750" y="1076325"/>
              <a:ext cx="360363" cy="360363"/>
            </a:xfrm>
            <a:prstGeom prst="ellipse">
              <a:avLst/>
            </a:prstGeom>
            <a:solidFill>
              <a:schemeClr val="bg1"/>
            </a:solidFill>
            <a:ln w="28575" algn="ctr">
              <a:noFill/>
              <a:round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2400" b="1" dirty="0">
                  <a:solidFill>
                    <a:schemeClr val="hlink"/>
                  </a:solidFill>
                </a:rPr>
                <a:t>6</a:t>
              </a:r>
              <a:endParaRPr lang="ru-RU" sz="2400" b="1" dirty="0">
                <a:solidFill>
                  <a:schemeClr val="hlink"/>
                </a:solidFill>
              </a:endParaRPr>
            </a:p>
          </p:txBody>
        </p:sp>
      </p:grpSp>
      <p:sp>
        <p:nvSpPr>
          <p:cNvPr id="1146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/>
          <a:lstStyle>
            <a:lvl1pPr>
              <a:lnSpc>
                <a:spcPct val="12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146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</p:spTree>
  </p:cSld>
  <p:clrMapOvr>
    <a:masterClrMapping/>
  </p:clrMapOvr>
  <p:transition>
    <p:split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CB0E0F2-DEBE-4131-B760-817C04D4D3E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77A1448-9BFF-47DA-8117-5F6FC7229A7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2A49DA-44CA-4C61-B0FF-70A4E02E6CF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FF5DFF0-4B22-4E6A-B7D6-1D899529252F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FBED01D-0AEA-4AC6-B83E-548AE44D8AB8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8FEDB50-DC7D-4CE8-8464-39F735679AEA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18D208-1704-45CE-A871-CEA3A08E0BA7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4ACE38C-DDE3-48E5-A640-BB050C5DBBD4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EB209F-DB5C-49FC-8C17-3740E26DB78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8150" y="0"/>
            <a:ext cx="2105025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0"/>
            <a:ext cx="6167437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2056C2-A88F-404C-89B7-5C34345050DC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/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>
  <p:cSld name="Титульный слайд">
    <p:bg>
      <p:bgPr>
        <a:blipFill dpi="0" rotWithShape="0">
          <a:blip r:embed="rId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5" y="2181225"/>
            <a:ext cx="8280400" cy="1031875"/>
          </a:xfrm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75" y="3284538"/>
            <a:ext cx="3743325" cy="649287"/>
          </a:xfrm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/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125538"/>
            <a:ext cx="413543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56150" y="1125538"/>
            <a:ext cx="4137025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09.xml"/><Relationship Id="rId8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102.xml"/><Relationship Id="rId17" Type="http://schemas.openxmlformats.org/officeDocument/2006/relationships/theme" Target="../theme/theme10.xml"/><Relationship Id="rId16" Type="http://schemas.openxmlformats.org/officeDocument/2006/relationships/image" Target="../media/image6.png"/><Relationship Id="rId15" Type="http://schemas.openxmlformats.org/officeDocument/2006/relationships/image" Target="../media/image5.png"/><Relationship Id="rId14" Type="http://schemas.openxmlformats.org/officeDocument/2006/relationships/image" Target="../media/image4.png"/><Relationship Id="rId13" Type="http://schemas.openxmlformats.org/officeDocument/2006/relationships/image" Target="../media/image3.jpeg"/><Relationship Id="rId12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1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21.xml"/><Relationship Id="rId8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14.xml"/><Relationship Id="rId16" Type="http://schemas.openxmlformats.org/officeDocument/2006/relationships/theme" Target="../theme/theme11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13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32.xml"/><Relationship Id="rId8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7.xml"/><Relationship Id="rId3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25.xml"/><Relationship Id="rId18" Type="http://schemas.openxmlformats.org/officeDocument/2006/relationships/theme" Target="../theme/theme12.xml"/><Relationship Id="rId17" Type="http://schemas.openxmlformats.org/officeDocument/2006/relationships/image" Target="../media/image6.png"/><Relationship Id="rId16" Type="http://schemas.openxmlformats.org/officeDocument/2006/relationships/image" Target="../media/image5.png"/><Relationship Id="rId15" Type="http://schemas.openxmlformats.org/officeDocument/2006/relationships/image" Target="../media/image4.png"/><Relationship Id="rId14" Type="http://schemas.openxmlformats.org/officeDocument/2006/relationships/image" Target="../media/image3.jpeg"/><Relationship Id="rId13" Type="http://schemas.openxmlformats.org/officeDocument/2006/relationships/slideLayout" Target="../slideLayouts/slideLayout136.xml"/><Relationship Id="rId12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34.xml"/><Relationship Id="rId10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24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45.xml"/><Relationship Id="rId8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39.xml"/><Relationship Id="rId2" Type="http://schemas.openxmlformats.org/officeDocument/2006/relationships/slideLayout" Target="../slideLayouts/slideLayout138.xml"/><Relationship Id="rId18" Type="http://schemas.openxmlformats.org/officeDocument/2006/relationships/theme" Target="../theme/theme13.xml"/><Relationship Id="rId17" Type="http://schemas.openxmlformats.org/officeDocument/2006/relationships/image" Target="../media/image6.png"/><Relationship Id="rId16" Type="http://schemas.openxmlformats.org/officeDocument/2006/relationships/image" Target="../media/image5.png"/><Relationship Id="rId15" Type="http://schemas.openxmlformats.org/officeDocument/2006/relationships/image" Target="../media/image4.png"/><Relationship Id="rId14" Type="http://schemas.openxmlformats.org/officeDocument/2006/relationships/image" Target="../media/image3.jpeg"/><Relationship Id="rId13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37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58.xml"/><Relationship Id="rId8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53.xml"/><Relationship Id="rId3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51.xml"/><Relationship Id="rId16" Type="http://schemas.openxmlformats.org/officeDocument/2006/relationships/theme" Target="../theme/theme14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60.xml"/><Relationship Id="rId10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50.x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69.xml"/><Relationship Id="rId8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64.xml"/><Relationship Id="rId3" Type="http://schemas.openxmlformats.org/officeDocument/2006/relationships/slideLayout" Target="../slideLayouts/slideLayout163.xml"/><Relationship Id="rId2" Type="http://schemas.openxmlformats.org/officeDocument/2006/relationships/slideLayout" Target="../slideLayouts/slideLayout162.xml"/><Relationship Id="rId17" Type="http://schemas.openxmlformats.org/officeDocument/2006/relationships/theme" Target="../theme/theme15.xml"/><Relationship Id="rId16" Type="http://schemas.openxmlformats.org/officeDocument/2006/relationships/image" Target="../media/image6.png"/><Relationship Id="rId15" Type="http://schemas.openxmlformats.org/officeDocument/2006/relationships/image" Target="../media/image5.png"/><Relationship Id="rId14" Type="http://schemas.openxmlformats.org/officeDocument/2006/relationships/image" Target="../media/image4.png"/><Relationship Id="rId13" Type="http://schemas.openxmlformats.org/officeDocument/2006/relationships/image" Target="../media/image3.jpeg"/><Relationship Id="rId12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1.xml"/><Relationship Id="rId10" Type="http://schemas.openxmlformats.org/officeDocument/2006/relationships/slideLayout" Target="../slideLayouts/slideLayout170.xml"/><Relationship Id="rId1" Type="http://schemas.openxmlformats.org/officeDocument/2006/relationships/slideLayout" Target="../slideLayouts/slideLayout161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81.xml"/><Relationship Id="rId8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76.xml"/><Relationship Id="rId3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74.xml"/><Relationship Id="rId16" Type="http://schemas.openxmlformats.org/officeDocument/2006/relationships/theme" Target="../theme/theme16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83.xml"/><Relationship Id="rId10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73.xml"/></Relationships>
</file>

<file path=ppt/slideMasters/_rels/slideMaster1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92.xml"/><Relationship Id="rId8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89.xml"/><Relationship Id="rId5" Type="http://schemas.openxmlformats.org/officeDocument/2006/relationships/slideLayout" Target="../slideLayouts/slideLayout188.xml"/><Relationship Id="rId4" Type="http://schemas.openxmlformats.org/officeDocument/2006/relationships/slideLayout" Target="../slideLayouts/slideLayout187.xml"/><Relationship Id="rId3" Type="http://schemas.openxmlformats.org/officeDocument/2006/relationships/slideLayout" Target="../slideLayouts/slideLayout186.xml"/><Relationship Id="rId2" Type="http://schemas.openxmlformats.org/officeDocument/2006/relationships/slideLayout" Target="../slideLayouts/slideLayout185.xml"/><Relationship Id="rId16" Type="http://schemas.openxmlformats.org/officeDocument/2006/relationships/theme" Target="../theme/theme17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84.xml"/></Relationships>
</file>

<file path=ppt/slideMasters/_rels/slideMaster18.xml.rels><?xml version="1.0" encoding="UTF-8" standalone="yes"?>
<Relationships xmlns="http://schemas.openxmlformats.org/package/2006/relationships"><Relationship Id="rId9" Type="http://schemas.openxmlformats.org/officeDocument/2006/relationships/theme" Target="../theme/theme18.xml"/><Relationship Id="rId8" Type="http://schemas.openxmlformats.org/officeDocument/2006/relationships/vmlDrawing" Target="../drawings/vmlDrawing2.vml"/><Relationship Id="rId7" Type="http://schemas.openxmlformats.org/officeDocument/2006/relationships/image" Target="../media/image26.png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.bin"/><Relationship Id="rId3" Type="http://schemas.openxmlformats.org/officeDocument/2006/relationships/tags" Target="../tags/tag2.xml"/><Relationship Id="rId2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95.xml"/></Relationships>
</file>

<file path=ppt/slideMasters/_rels/slideMaster1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5.xml"/><Relationship Id="rId8" Type="http://schemas.openxmlformats.org/officeDocument/2006/relationships/slideLayout" Target="../slideLayouts/slideLayout204.xml"/><Relationship Id="rId7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200.xml"/><Relationship Id="rId3" Type="http://schemas.openxmlformats.org/officeDocument/2006/relationships/slideLayout" Target="../slideLayouts/slideLayout199.xml"/><Relationship Id="rId2" Type="http://schemas.openxmlformats.org/officeDocument/2006/relationships/slideLayout" Target="../slideLayouts/slideLayout198.xml"/><Relationship Id="rId14" Type="http://schemas.openxmlformats.org/officeDocument/2006/relationships/theme" Target="../theme/theme19.xml"/><Relationship Id="rId13" Type="http://schemas.openxmlformats.org/officeDocument/2006/relationships/slideLayout" Target="../slideLayouts/slideLayout209.xml"/><Relationship Id="rId12" Type="http://schemas.openxmlformats.org/officeDocument/2006/relationships/slideLayout" Target="../slideLayouts/slideLayout208.xml"/><Relationship Id="rId11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206.xml"/><Relationship Id="rId1" Type="http://schemas.openxmlformats.org/officeDocument/2006/relationships/slideLayout" Target="../slideLayouts/slideLayout197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.xml"/><Relationship Id="rId8" Type="http://schemas.openxmlformats.org/officeDocument/2006/relationships/slideLayout" Target="../slideLayouts/slideLayout19.xml"/><Relationship Id="rId7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6" Type="http://schemas.openxmlformats.org/officeDocument/2006/relationships/theme" Target="../theme/theme2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9.jpeg"/><Relationship Id="rId11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1.xml"/><Relationship Id="rId1" Type="http://schemas.openxmlformats.org/officeDocument/2006/relationships/slideLayout" Target="../slideLayouts/slideLayout12.xml"/></Relationships>
</file>

<file path=ppt/slideMasters/_rels/slideMaster20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18.xml"/><Relationship Id="rId8" Type="http://schemas.openxmlformats.org/officeDocument/2006/relationships/slideLayout" Target="../slideLayouts/slideLayout217.xml"/><Relationship Id="rId7" Type="http://schemas.openxmlformats.org/officeDocument/2006/relationships/slideLayout" Target="../slideLayouts/slideLayout216.xml"/><Relationship Id="rId6" Type="http://schemas.openxmlformats.org/officeDocument/2006/relationships/slideLayout" Target="../slideLayouts/slideLayout215.xml"/><Relationship Id="rId5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213.xml"/><Relationship Id="rId3" Type="http://schemas.openxmlformats.org/officeDocument/2006/relationships/slideLayout" Target="../slideLayouts/slideLayout212.xml"/><Relationship Id="rId2" Type="http://schemas.openxmlformats.org/officeDocument/2006/relationships/slideLayout" Target="../slideLayouts/slideLayout211.xml"/><Relationship Id="rId17" Type="http://schemas.openxmlformats.org/officeDocument/2006/relationships/theme" Target="../theme/theme20.xml"/><Relationship Id="rId16" Type="http://schemas.openxmlformats.org/officeDocument/2006/relationships/image" Target="../media/image6.png"/><Relationship Id="rId15" Type="http://schemas.openxmlformats.org/officeDocument/2006/relationships/image" Target="../media/image5.png"/><Relationship Id="rId14" Type="http://schemas.openxmlformats.org/officeDocument/2006/relationships/image" Target="../media/image30.png"/><Relationship Id="rId13" Type="http://schemas.openxmlformats.org/officeDocument/2006/relationships/image" Target="../media/image29.jpeg"/><Relationship Id="rId12" Type="http://schemas.openxmlformats.org/officeDocument/2006/relationships/slideLayout" Target="../slideLayouts/slideLayout221.xml"/><Relationship Id="rId11" Type="http://schemas.openxmlformats.org/officeDocument/2006/relationships/slideLayout" Target="../slideLayouts/slideLayout220.xml"/><Relationship Id="rId10" Type="http://schemas.openxmlformats.org/officeDocument/2006/relationships/slideLayout" Target="../slideLayouts/slideLayout219.xml"/><Relationship Id="rId1" Type="http://schemas.openxmlformats.org/officeDocument/2006/relationships/slideLayout" Target="../slideLayouts/slideLayout210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1.xml"/><Relationship Id="rId8" Type="http://schemas.openxmlformats.org/officeDocument/2006/relationships/slideLayout" Target="../slideLayouts/slideLayout30.xml"/><Relationship Id="rId7" Type="http://schemas.openxmlformats.org/officeDocument/2006/relationships/slideLayout" Target="../slideLayouts/slideLayout29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6" Type="http://schemas.openxmlformats.org/officeDocument/2006/relationships/theme" Target="../theme/theme3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2.xml"/><Relationship Id="rId8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0.xml"/><Relationship Id="rId6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5.xml"/><Relationship Id="rId16" Type="http://schemas.openxmlformats.org/officeDocument/2006/relationships/theme" Target="../theme/theme4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34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53.xml"/><Relationship Id="rId8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6.xml"/><Relationship Id="rId17" Type="http://schemas.openxmlformats.org/officeDocument/2006/relationships/theme" Target="../theme/theme5.xml"/><Relationship Id="rId16" Type="http://schemas.openxmlformats.org/officeDocument/2006/relationships/image" Target="../media/image6.png"/><Relationship Id="rId15" Type="http://schemas.openxmlformats.org/officeDocument/2006/relationships/image" Target="../media/image5.png"/><Relationship Id="rId14" Type="http://schemas.openxmlformats.org/officeDocument/2006/relationships/image" Target="../media/image4.png"/><Relationship Id="rId13" Type="http://schemas.openxmlformats.org/officeDocument/2006/relationships/image" Target="../media/image3.jpeg"/><Relationship Id="rId12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4.xml"/><Relationship Id="rId1" Type="http://schemas.openxmlformats.org/officeDocument/2006/relationships/slideLayout" Target="../slideLayouts/slideLayout45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5.xml"/><Relationship Id="rId8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8.xml"/><Relationship Id="rId16" Type="http://schemas.openxmlformats.org/officeDocument/2006/relationships/theme" Target="../theme/theme6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66.xml"/><Relationship Id="rId1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6.xml"/><Relationship Id="rId8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3.xml"/><Relationship Id="rId5" Type="http://schemas.openxmlformats.org/officeDocument/2006/relationships/slideLayout" Target="../slideLayouts/slideLayout72.xml"/><Relationship Id="rId4" Type="http://schemas.openxmlformats.org/officeDocument/2006/relationships/slideLayout" Target="../slideLayouts/slideLayout71.xml"/><Relationship Id="rId3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9.xml"/><Relationship Id="rId16" Type="http://schemas.openxmlformats.org/officeDocument/2006/relationships/theme" Target="../theme/theme7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77.xml"/><Relationship Id="rId1" Type="http://schemas.openxmlformats.org/officeDocument/2006/relationships/slideLayout" Target="../slideLayouts/slideLayout68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7.xml"/><Relationship Id="rId8" Type="http://schemas.openxmlformats.org/officeDocument/2006/relationships/slideLayout" Target="../slideLayouts/slideLayout86.xml"/><Relationship Id="rId7" Type="http://schemas.openxmlformats.org/officeDocument/2006/relationships/slideLayout" Target="../slideLayouts/slideLayout85.xml"/><Relationship Id="rId6" Type="http://schemas.openxmlformats.org/officeDocument/2006/relationships/slideLayout" Target="../slideLayouts/slideLayout84.xml"/><Relationship Id="rId5" Type="http://schemas.openxmlformats.org/officeDocument/2006/relationships/slideLayout" Target="../slideLayouts/slideLayout83.xml"/><Relationship Id="rId4" Type="http://schemas.openxmlformats.org/officeDocument/2006/relationships/slideLayout" Target="../slideLayouts/slideLayout82.xml"/><Relationship Id="rId3" Type="http://schemas.openxmlformats.org/officeDocument/2006/relationships/slideLayout" Target="../slideLayouts/slideLayout81.xml"/><Relationship Id="rId2" Type="http://schemas.openxmlformats.org/officeDocument/2006/relationships/slideLayout" Target="../slideLayouts/slideLayout80.xml"/><Relationship Id="rId16" Type="http://schemas.openxmlformats.org/officeDocument/2006/relationships/theme" Target="../theme/theme8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88.xml"/><Relationship Id="rId1" Type="http://schemas.openxmlformats.org/officeDocument/2006/relationships/slideLayout" Target="../slideLayouts/slideLayout79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8.xml"/><Relationship Id="rId8" Type="http://schemas.openxmlformats.org/officeDocument/2006/relationships/slideLayout" Target="../slideLayouts/slideLayout97.xml"/><Relationship Id="rId7" Type="http://schemas.openxmlformats.org/officeDocument/2006/relationships/slideLayout" Target="../slideLayouts/slideLayout96.xml"/><Relationship Id="rId6" Type="http://schemas.openxmlformats.org/officeDocument/2006/relationships/slideLayout" Target="../slideLayouts/slideLayout95.xml"/><Relationship Id="rId5" Type="http://schemas.openxmlformats.org/officeDocument/2006/relationships/slideLayout" Target="../slideLayouts/slideLayout94.xml"/><Relationship Id="rId4" Type="http://schemas.openxmlformats.org/officeDocument/2006/relationships/slideLayout" Target="../slideLayouts/slideLayout93.xml"/><Relationship Id="rId3" Type="http://schemas.openxmlformats.org/officeDocument/2006/relationships/slideLayout" Target="../slideLayouts/slideLayout92.xml"/><Relationship Id="rId2" Type="http://schemas.openxmlformats.org/officeDocument/2006/relationships/slideLayout" Target="../slideLayouts/slideLayout91.xml"/><Relationship Id="rId16" Type="http://schemas.openxmlformats.org/officeDocument/2006/relationships/theme" Target="../theme/theme9.xml"/><Relationship Id="rId15" Type="http://schemas.openxmlformats.org/officeDocument/2006/relationships/image" Target="../media/image6.png"/><Relationship Id="rId14" Type="http://schemas.openxmlformats.org/officeDocument/2006/relationships/image" Target="../media/image5.png"/><Relationship Id="rId13" Type="http://schemas.openxmlformats.org/officeDocument/2006/relationships/image" Target="../media/image4.png"/><Relationship Id="rId12" Type="http://schemas.openxmlformats.org/officeDocument/2006/relationships/image" Target="../media/image3.jpeg"/><Relationship Id="rId11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/>
            </a:fld>
            <a:endParaRPr lang="ru-RU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10342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7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pPr>
              <a:defRPr/>
            </a:pPr>
            <a:fld id="{0A2E7403-A31C-4612-ADD8-582B85A3F13B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4" y="1125538"/>
            <a:ext cx="8424862" cy="514826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pic>
        <p:nvPicPr>
          <p:cNvPr id="4112" name="Picture 16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441" name="Rectangle 17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2163764" y="6469065"/>
            <a:ext cx="179387" cy="179387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ru-RU" sz="1200" b="1" dirty="0">
              <a:solidFill>
                <a:srgbClr val="41414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 fontAlgn="auto">
              <a:spcBef>
                <a:spcPts val="0"/>
              </a:spcBef>
              <a:spcAft>
                <a:spcPts val="0"/>
              </a:spcAft>
              <a:defRPr sz="2200" b="1">
                <a:solidFill>
                  <a:srgbClr val="003274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7531B5C-6534-4308-BBE4-BDA73A2632AA}" type="slidenum">
              <a:rPr lang="ru-RU"/>
            </a:fld>
            <a:endParaRPr lang="ru-RU" dirty="0"/>
          </a:p>
        </p:txBody>
      </p:sp>
      <p:sp>
        <p:nvSpPr>
          <p:cNvPr id="257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57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57029" name="navigation8" descr="ujkm,"/>
          <p:cNvPicPr>
            <a:picLocks noChangeAspect="1" noChangeArrowheads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795" r:id="rId1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rgbClr val="003274"/>
                </a:solidFill>
                <a:cs typeface="+mn-cs"/>
              </a:defRPr>
            </a:lvl1pPr>
          </a:lstStyle>
          <a:p>
            <a:pPr>
              <a:defRPr/>
            </a:pPr>
            <a:fld id="{7FBFBA33-169F-44A9-A5DF-A0C25D734F8D}" type="slidenum">
              <a:rPr lang="ru-RU">
                <a:latin typeface="Arial" panose="020B0604020202090204"/>
              </a:rPr>
            </a:fld>
            <a:endParaRPr lang="ru-RU" dirty="0">
              <a:latin typeface="Arial" panose="020B0604020202090204"/>
            </a:endParaRPr>
          </a:p>
        </p:txBody>
      </p:sp>
      <p:sp>
        <p:nvSpPr>
          <p:cNvPr id="2037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378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3781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 fontAlgn="auto">
              <a:spcBef>
                <a:spcPts val="0"/>
              </a:spcBef>
              <a:spcAft>
                <a:spcPts val="0"/>
              </a:spcAft>
              <a:defRPr sz="2200" b="1">
                <a:solidFill>
                  <a:schemeClr val="hlink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45F48F7-F5BB-47E4-824F-28845CE8C8E2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7" y="6448479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latin typeface="Arial" panose="020B0604020202090204" pitchFamily="34" charset="0"/>
                <a:cs typeface="+mn-cs"/>
              </a:defRPr>
            </a:lvl1pPr>
          </a:lstStyle>
          <a:p>
            <a:fld id="{39C25FF4-21E9-41B0-81DE-DEE261383BF1}" type="slidenum">
              <a:rPr lang="ru-RU" smtClean="0"/>
            </a:fld>
            <a:endParaRPr lang="ru-RU" dirty="0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14341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4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7" y="6448499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latin typeface="Arial" panose="020B0604020202090204" pitchFamily="34" charset="0"/>
                <a:cs typeface="+mn-cs"/>
              </a:defRPr>
            </a:lvl1pPr>
          </a:lstStyle>
          <a:p>
            <a:fld id="{39C25FF4-21E9-41B0-81DE-DEE261383BF1}" type="slidenum">
              <a:rPr lang="ru-RU" smtClean="0"/>
            </a:fld>
            <a:endParaRPr lang="ru-RU" dirty="0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14341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4" y="106363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80990" y="1980009"/>
            <a:ext cx="2183476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12653" y="4197989"/>
            <a:ext cx="1920150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 defTabSz="913765"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8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765"/>
            <a:r>
              <a:rPr lang="ru-RU" sz="1400" dirty="0">
                <a:solidFill>
                  <a:srgbClr val="808080"/>
                </a:solidFill>
                <a:latin typeface="Arial" panose="020B0604020202090204"/>
              </a:rPr>
              <a:t>TRACKER</a:t>
            </a:r>
            <a:endParaRPr lang="ru-RU" sz="1400" dirty="0">
              <a:solidFill>
                <a:srgbClr val="808080"/>
              </a:solidFill>
              <a:latin typeface="Arial" panose="020B0604020202090204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1" y="94666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  <a:endParaRPr lang="ru-RU" sz="1600" dirty="0">
              <a:solidFill>
                <a:srgbClr val="808080"/>
              </a:solidFill>
            </a:endParaRP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5770"/>
            <a:ext cx="87228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2pPr>
            <a:lvl3pPr marL="1217930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3pPr>
            <a:lvl4pPr marL="140525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90204" pitchFamily="34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 panose="020B0604020202090204"/>
              </a:rPr>
              <a:t>1 Сноска</a:t>
            </a:r>
            <a:endParaRPr lang="ru-RU" sz="1000" dirty="0">
              <a:solidFill>
                <a:srgbClr val="000000"/>
              </a:solidFill>
              <a:latin typeface="Arial" panose="020B0604020202090204"/>
            </a:endParaRP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8" y="6578595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665" indent="-621665" defTabSz="913130">
              <a:tabLst>
                <a:tab pos="624840" algn="l"/>
              </a:tabLst>
            </a:pPr>
            <a:r>
              <a:rPr lang="ru-RU" sz="1000" dirty="0">
                <a:solidFill>
                  <a:srgbClr val="000000"/>
                </a:solidFill>
                <a:latin typeface="Arial" panose="020B0604020202090204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 panose="020B0604020202090204"/>
            </a:endParaRPr>
          </a:p>
        </p:txBody>
      </p:sp>
      <p:grpSp>
        <p:nvGrpSpPr>
          <p:cNvPr id="15" name="ACET" hidden="1"/>
          <p:cNvGrpSpPr/>
          <p:nvPr/>
        </p:nvGrpSpPr>
        <p:grpSpPr bwMode="auto">
          <a:xfrm>
            <a:off x="1482158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765"/>
              <a:r>
                <a:rPr lang="ru-RU" sz="1600" b="1" dirty="0">
                  <a:solidFill>
                    <a:srgbClr val="000000"/>
                  </a:solidFill>
                  <a:latin typeface="Arial" panose="020B0604020202090204"/>
                </a:rPr>
                <a:t>Title</a:t>
              </a:r>
              <a:endParaRPr lang="ru-RU" sz="1600" b="1" dirty="0">
                <a:solidFill>
                  <a:srgbClr val="000000"/>
                </a:solidFill>
                <a:latin typeface="Arial" panose="020B0604020202090204"/>
              </a:endParaRPr>
            </a:p>
            <a:p>
              <a:pPr defTabSz="913765"/>
              <a:r>
                <a:rPr lang="ru-RU" sz="1600" dirty="0">
                  <a:solidFill>
                    <a:srgbClr val="808080"/>
                  </a:solidFill>
                  <a:latin typeface="Arial" panose="020B0604020202090204"/>
                </a:rPr>
                <a:t>Unit of measure</a:t>
              </a:r>
              <a:endParaRPr lang="ru-RU" sz="1600" dirty="0">
                <a:solidFill>
                  <a:srgbClr val="808080"/>
                </a:solidFill>
                <a:latin typeface="Arial" panose="020B0604020202090204"/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66" tIns="93266" rIns="93266" bIns="93266" anchor="ctr"/>
          <a:lstStyle/>
          <a:p>
            <a:pPr defTabSz="913765">
              <a:defRPr/>
            </a:pPr>
            <a:endParaRPr lang="ru-RU" dirty="0">
              <a:solidFill>
                <a:srgbClr val="000000"/>
              </a:solidFill>
              <a:latin typeface="Arial" panose="020B0604020202090204"/>
              <a:cs typeface="Arial" panose="020B0604020202090204" pitchFamily="34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66" tIns="93266" rIns="93266" bIns="93266" anchor="ctr"/>
          <a:lstStyle/>
          <a:p>
            <a:pPr defTabSz="913765">
              <a:defRPr/>
            </a:pPr>
            <a:endParaRPr lang="ru-RU" dirty="0">
              <a:solidFill>
                <a:srgbClr val="000000"/>
              </a:solidFill>
              <a:latin typeface="Arial" panose="020B0604020202090204"/>
              <a:cs typeface="Arial" panose="020B0604020202090204" pitchFamily="34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8178323" y="42452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129182" y="119001"/>
            <a:ext cx="1022737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</p:sldLayoutIdLst>
  <p:hf hdr="0" ftr="0" dt="0"/>
  <p:txStyles>
    <p:titleStyle>
      <a:lvl1pPr algn="l" defTabSz="913130" rtl="0" eaLnBrk="1" fontAlgn="base" hangingPunct="1">
        <a:spcBef>
          <a:spcPct val="0"/>
        </a:spcBef>
        <a:spcAft>
          <a:spcPct val="0"/>
        </a:spcAft>
        <a:tabLst>
          <a:tab pos="363855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2pPr>
      <a:lvl3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3pPr>
      <a:lvl4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4pPr>
      <a:lvl5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5pPr>
      <a:lvl6pPr marL="466090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6pPr>
      <a:lvl7pPr marL="932815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7pPr>
      <a:lvl8pPr marL="1398905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8pPr>
      <a:lvl9pPr marL="1865630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90204" pitchFamily="34" charset="0"/>
        </a:defRPr>
      </a:lvl9pPr>
    </p:titleStyle>
    <p:bodyStyle>
      <a:lvl1pPr marL="0" indent="0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485" indent="-1962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9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66090" indent="-26733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9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26745" indent="-158750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9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1600">
          <a:solidFill>
            <a:schemeClr val="tx1"/>
          </a:solidFill>
          <a:latin typeface="+mn-lt"/>
        </a:defRPr>
      </a:lvl6pPr>
      <a:lvl7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1600">
          <a:solidFill>
            <a:schemeClr val="tx1"/>
          </a:solidFill>
          <a:latin typeface="+mn-lt"/>
        </a:defRPr>
      </a:lvl7pPr>
      <a:lvl8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1600">
          <a:solidFill>
            <a:schemeClr val="tx1"/>
          </a:solidFill>
          <a:latin typeface="+mn-lt"/>
        </a:defRPr>
      </a:lvl8pPr>
      <a:lvl9pPr marL="764540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90204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090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15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05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630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720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810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35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625" algn="l" defTabSz="93218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  <a:p>
            <a:pPr lvl="2"/>
            <a:r>
              <a:rPr lang="ru-RU"/>
              <a:t>Третий уровень</a:t>
            </a:r>
            <a:endParaRPr lang="ru-RU"/>
          </a:p>
          <a:p>
            <a:pPr lvl="3"/>
            <a:r>
              <a:rPr lang="ru-RU"/>
              <a:t>Четвертый уровень</a:t>
            </a:r>
            <a:endParaRPr lang="ru-RU"/>
          </a:p>
          <a:p>
            <a:pPr lvl="4"/>
            <a:r>
              <a:rPr lang="ru-RU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489EB0-6CFC-4E12-B545-E965AC2D09E1}" type="datetime1">
              <a:rPr lang="ru-RU" smtClean="0"/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C25FF4-21E9-41B0-81DE-DEE261383BF1}" type="slidenum">
              <a:rPr lang="ru-RU" smtClean="0"/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  <p:sldLayoutId id="2147483874" r:id="rId12"/>
    <p:sldLayoutId id="2147483875" r:id="rId1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9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9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A663EA52-884A-401B-9C0B-BA7D6E6232EC}" type="slidenum">
              <a:rPr lang="ru-RU"/>
            </a:fld>
            <a:endParaRPr lang="ru-RU" dirty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9221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98AFEC57-EB06-4D59-A7D0-215126966E20}" type="slidenum">
              <a:rPr lang="ru-RU"/>
            </a:fld>
            <a:endParaRPr lang="ru-RU" dirty="0"/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76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7653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1" name="Группа 10"/>
          <p:cNvGrpSpPr/>
          <p:nvPr/>
        </p:nvGrpSpPr>
        <p:grpSpPr>
          <a:xfrm>
            <a:off x="214282" y="6510359"/>
            <a:ext cx="1414473" cy="190478"/>
            <a:chOff x="458788" y="6467497"/>
            <a:chExt cx="1414473" cy="19047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458788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1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4688" y="6469063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693874" y="6467497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en-US" sz="1200" b="1" dirty="0">
                  <a:cs typeface="Arial" panose="020B0604020202090204" pitchFamily="34" charset="0"/>
                </a:rPr>
                <a:t>6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935041" y="6473826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3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20224EE2-69FB-42C8-8E3C-9785D9F190B6}" type="slidenum">
              <a:rPr lang="ru-RU"/>
            </a:fld>
            <a:endParaRPr lang="ru-RU" dirty="0"/>
          </a:p>
        </p:txBody>
      </p:sp>
      <p:sp>
        <p:nvSpPr>
          <p:cNvPr id="31749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pic>
        <p:nvPicPr>
          <p:cNvPr id="31754" name="navigation6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1" name="Группа 10"/>
          <p:cNvGrpSpPr/>
          <p:nvPr/>
        </p:nvGrpSpPr>
        <p:grpSpPr>
          <a:xfrm>
            <a:off x="330154" y="6496071"/>
            <a:ext cx="1474814" cy="190478"/>
            <a:chOff x="396857" y="6467497"/>
            <a:chExt cx="1474814" cy="19047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692284" y="6467497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en-US" sz="1200" b="1" dirty="0">
                  <a:cs typeface="Arial" panose="020B0604020202090204" pitchFamily="34" charset="0"/>
                </a:rPr>
                <a:t>6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4688" y="6469063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3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396857" y="6478588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1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8AD15098-A811-4E07-946B-55DA15EE1276}" type="slidenum">
              <a:rPr lang="ru-RU"/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1" name="Группа 10"/>
          <p:cNvGrpSpPr/>
          <p:nvPr/>
        </p:nvGrpSpPr>
        <p:grpSpPr>
          <a:xfrm>
            <a:off x="253742" y="6510359"/>
            <a:ext cx="1492487" cy="190478"/>
            <a:chOff x="393472" y="6467497"/>
            <a:chExt cx="1492487" cy="190478"/>
          </a:xfrm>
        </p:grpSpPr>
        <p:sp>
          <p:nvSpPr>
            <p:cNvPr id="12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93472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1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3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706572" y="6477022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US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6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14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3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6"/>
            <p:cNvSpPr>
              <a:spLocks noChangeShapeType="1"/>
            </p:cNvSpPr>
            <p:nvPr/>
          </p:nvSpPr>
          <p:spPr bwMode="auto">
            <a:xfrm>
              <a:off x="906236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19" name="Rectangle 13"/>
            <p:cNvSpPr>
              <a:spLocks noChangeArrowheads="1"/>
            </p:cNvSpPr>
            <p:nvPr userDrawn="1"/>
          </p:nvSpPr>
          <p:spPr bwMode="auto">
            <a:xfrm>
              <a:off x="677865" y="6472258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2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8AD15098-A811-4E07-946B-55DA15EE1276}" type="slidenum">
              <a:rPr lang="ru-RU"/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3" name="Группа 12"/>
          <p:cNvGrpSpPr/>
          <p:nvPr/>
        </p:nvGrpSpPr>
        <p:grpSpPr>
          <a:xfrm>
            <a:off x="219044" y="6505595"/>
            <a:ext cx="1479559" cy="193676"/>
            <a:chOff x="382586" y="6467496"/>
            <a:chExt cx="1479559" cy="193676"/>
          </a:xfrm>
        </p:grpSpPr>
        <p:sp>
          <p:nvSpPr>
            <p:cNvPr id="14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82586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1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5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3101" y="6481785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US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16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3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7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8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9" name="navigation7"/>
            <p:cNvSpPr>
              <a:spLocks noChangeShapeType="1"/>
            </p:cNvSpPr>
            <p:nvPr userDrawn="1"/>
          </p:nvSpPr>
          <p:spPr bwMode="auto">
            <a:xfrm>
              <a:off x="1127556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0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682758" y="6481785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6</a:t>
              </a:r>
              <a:endParaRPr lang="ru-RU" sz="1200" b="1" dirty="0"/>
            </a:p>
          </p:txBody>
        </p:sp>
        <p:sp>
          <p:nvSpPr>
            <p:cNvPr id="21" name="Rectangle 13"/>
            <p:cNvSpPr>
              <a:spLocks noChangeArrowheads="1"/>
            </p:cNvSpPr>
            <p:nvPr userDrawn="1"/>
          </p:nvSpPr>
          <p:spPr bwMode="auto">
            <a:xfrm>
              <a:off x="1173167" y="6467496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4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3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4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8AD15098-A811-4E07-946B-55DA15EE1276}" type="slidenum">
              <a:rPr lang="ru-RU"/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6" name="Группа 15"/>
          <p:cNvGrpSpPr/>
          <p:nvPr/>
        </p:nvGrpSpPr>
        <p:grpSpPr>
          <a:xfrm>
            <a:off x="220404" y="6510357"/>
            <a:ext cx="1473437" cy="190480"/>
            <a:chOff x="393472" y="6467495"/>
            <a:chExt cx="1473437" cy="190480"/>
          </a:xfrm>
        </p:grpSpPr>
        <p:sp>
          <p:nvSpPr>
            <p:cNvPr id="17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93472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1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18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1687522" y="6467497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US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6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19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3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20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1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2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24" name="Rectangle 13"/>
            <p:cNvSpPr>
              <a:spLocks noChangeArrowheads="1"/>
            </p:cNvSpPr>
            <p:nvPr userDrawn="1"/>
          </p:nvSpPr>
          <p:spPr bwMode="auto">
            <a:xfrm>
              <a:off x="1425582" y="6467497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5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6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27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673102" y="6467495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2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Arial" panose="020B0604020202090204" pitchFamily="34" charset="0"/>
              </a:defRPr>
            </a:lvl1pPr>
          </a:lstStyle>
          <a:p>
            <a:fld id="{8AD15098-A811-4E07-946B-55DA15EE1276}" type="slidenum">
              <a:rPr lang="ru-RU"/>
            </a:fld>
            <a:endParaRPr lang="ru-RU" dirty="0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33797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  <p:grpSp>
        <p:nvGrpSpPr>
          <p:cNvPr id="18" name="Группа 17"/>
          <p:cNvGrpSpPr/>
          <p:nvPr/>
        </p:nvGrpSpPr>
        <p:grpSpPr>
          <a:xfrm>
            <a:off x="260122" y="6496072"/>
            <a:ext cx="1506747" cy="190478"/>
            <a:chOff x="393472" y="6467497"/>
            <a:chExt cx="1506747" cy="190478"/>
          </a:xfrm>
        </p:grpSpPr>
        <p:sp>
          <p:nvSpPr>
            <p:cNvPr id="33798" name="navigation1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393472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1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33799" name="navigation2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674688" y="6478588"/>
              <a:ext cx="179387" cy="179387"/>
            </a:xfrm>
            <a:prstGeom prst="rect">
              <a:avLst/>
            </a:prstGeom>
            <a:noFill/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ru-RU" sz="1200" b="1" dirty="0">
                  <a:solidFill>
                    <a:schemeClr val="tx1"/>
                  </a:solidFill>
                  <a:cs typeface="Arial" panose="020B0604020202090204" pitchFamily="34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cs typeface="Arial" panose="020B0604020202090204" pitchFamily="34" charset="0"/>
              </a:endParaRPr>
            </a:p>
          </p:txBody>
        </p:sp>
        <p:sp>
          <p:nvSpPr>
            <p:cNvPr id="33800" name="navigation3">
              <a:hlinkClick r:id="" action="ppaction://noaction"/>
            </p:cNvPr>
            <p:cNvSpPr>
              <a:spLocks noChangeArrowheads="1"/>
            </p:cNvSpPr>
            <p:nvPr/>
          </p:nvSpPr>
          <p:spPr bwMode="auto">
            <a:xfrm>
              <a:off x="928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/>
              <a:r>
                <a:rPr lang="ru-RU" sz="1200" b="1" dirty="0">
                  <a:cs typeface="Arial" panose="020B0604020202090204" pitchFamily="34" charset="0"/>
                </a:rPr>
                <a:t>3</a:t>
              </a:r>
              <a:endParaRPr lang="ru-RU" sz="1200" b="1" dirty="0">
                <a:cs typeface="Arial" panose="020B0604020202090204" pitchFamily="34" charset="0"/>
              </a:endParaRPr>
            </a:p>
          </p:txBody>
        </p:sp>
        <p:sp>
          <p:nvSpPr>
            <p:cNvPr id="33801" name="navigation7"/>
            <p:cNvSpPr>
              <a:spLocks noChangeShapeType="1"/>
            </p:cNvSpPr>
            <p:nvPr/>
          </p:nvSpPr>
          <p:spPr bwMode="auto">
            <a:xfrm>
              <a:off x="631825" y="6469063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33802" name="navigation6"/>
            <p:cNvSpPr>
              <a:spLocks noChangeShapeType="1"/>
            </p:cNvSpPr>
            <p:nvPr/>
          </p:nvSpPr>
          <p:spPr bwMode="auto">
            <a:xfrm>
              <a:off x="895350" y="6469063"/>
              <a:ext cx="1588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2" name="navigation7"/>
            <p:cNvSpPr>
              <a:spLocks noChangeShapeType="1"/>
            </p:cNvSpPr>
            <p:nvPr userDrawn="1"/>
          </p:nvSpPr>
          <p:spPr bwMode="auto">
            <a:xfrm>
              <a:off x="1149328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3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182688" y="6469063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ru-RU" sz="1200" b="1" dirty="0"/>
                <a:t>4</a:t>
              </a:r>
              <a:endParaRPr lang="ru-RU" sz="1200" b="1" dirty="0"/>
            </a:p>
          </p:txBody>
        </p:sp>
        <p:sp>
          <p:nvSpPr>
            <p:cNvPr id="14" name="Rectangle 13"/>
            <p:cNvSpPr>
              <a:spLocks noChangeArrowheads="1"/>
            </p:cNvSpPr>
            <p:nvPr userDrawn="1"/>
          </p:nvSpPr>
          <p:spPr bwMode="auto">
            <a:xfrm>
              <a:off x="1720832" y="6469063"/>
              <a:ext cx="179387" cy="179387"/>
            </a:xfrm>
            <a:prstGeom prst="rect">
              <a:avLst/>
            </a:prstGeom>
            <a:solidFill>
              <a:schemeClr val="hlink"/>
            </a:solidFill>
            <a:ln w="19050" algn="ctr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6</a:t>
              </a:r>
              <a:endParaRPr lang="ru-RU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navigation7"/>
            <p:cNvSpPr>
              <a:spLocks noChangeShapeType="1"/>
            </p:cNvSpPr>
            <p:nvPr userDrawn="1"/>
          </p:nvSpPr>
          <p:spPr bwMode="auto">
            <a:xfrm>
              <a:off x="1652547" y="6468858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6" name="navigation7"/>
            <p:cNvSpPr>
              <a:spLocks noChangeShapeType="1"/>
            </p:cNvSpPr>
            <p:nvPr userDrawn="1"/>
          </p:nvSpPr>
          <p:spPr bwMode="auto">
            <a:xfrm>
              <a:off x="1395390" y="6467497"/>
              <a:ext cx="0" cy="179387"/>
            </a:xfrm>
            <a:prstGeom prst="line">
              <a:avLst/>
            </a:prstGeom>
            <a:noFill/>
            <a:ln w="19050">
              <a:solidFill>
                <a:schemeClr val="hlink"/>
              </a:solidFill>
              <a:round/>
            </a:ln>
            <a:effectLst/>
          </p:spPr>
          <p:txBody>
            <a:bodyPr wrap="none" anchor="ctr"/>
            <a:lstStyle/>
            <a:p>
              <a:endParaRPr lang="ru-RU" dirty="0"/>
            </a:p>
          </p:txBody>
        </p:sp>
        <p:sp>
          <p:nvSpPr>
            <p:cNvPr id="17" name="navigation4">
              <a:hlinkClick r:id="" action="ppaction://noaction"/>
            </p:cNvPr>
            <p:cNvSpPr>
              <a:spLocks noChangeArrowheads="1"/>
            </p:cNvSpPr>
            <p:nvPr userDrawn="1"/>
          </p:nvSpPr>
          <p:spPr bwMode="auto">
            <a:xfrm>
              <a:off x="1438275" y="6478588"/>
              <a:ext cx="179387" cy="179387"/>
            </a:xfrm>
            <a:prstGeom prst="rect">
              <a:avLst/>
            </a:prstGeom>
            <a:noFill/>
            <a:ln w="19050">
              <a:noFill/>
              <a:miter lim="800000"/>
            </a:ln>
            <a:effectLst/>
          </p:spPr>
          <p:txBody>
            <a:bodyPr wrap="none" lIns="0" tIns="0" rIns="0" bIns="0" anchor="ctr"/>
            <a:lstStyle/>
            <a:p>
              <a:pPr algn="ctr">
                <a:defRPr/>
              </a:pPr>
              <a:r>
                <a:rPr lang="en-US" sz="1200" b="1" dirty="0"/>
                <a:t>5</a:t>
              </a:r>
              <a:endParaRPr lang="ru-RU" sz="1200" b="1"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 cstate="email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59763" y="6448425"/>
            <a:ext cx="627062" cy="3778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0" tIns="0" rIns="0" bIns="0" numCol="1" anchor="ctr" anchorCtr="1" compatLnSpc="1"/>
          <a:lstStyle>
            <a:lvl1pPr algn="r">
              <a:defRPr sz="2200" b="1">
                <a:solidFill>
                  <a:schemeClr val="hlink"/>
                </a:solidFill>
                <a:cs typeface="+mn-cs"/>
              </a:defRPr>
            </a:lvl1pPr>
          </a:lstStyle>
          <a:p>
            <a:fld id="{39C25FF4-21E9-41B0-81DE-DEE261383BF1}" type="slidenum">
              <a:rPr lang="ru-RU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125538"/>
            <a:ext cx="8424862" cy="5148262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t" anchorCtr="0" compatLnSpc="1"/>
          <a:lstStyle/>
          <a:p>
            <a:pPr lvl="0"/>
            <a:r>
              <a:rPr lang="ru-RU"/>
              <a:t>Образец текста</a:t>
            </a:r>
            <a:endParaRPr lang="ru-RU"/>
          </a:p>
          <a:p>
            <a:pPr lvl="1"/>
            <a:r>
              <a:rPr lang="ru-RU"/>
              <a:t>Второй уровень</a:t>
            </a:r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0"/>
            <a:ext cx="7632700" cy="962025"/>
          </a:xfrm>
          <a:prstGeom prst="rect">
            <a:avLst/>
          </a:prstGeom>
          <a:noFill/>
          <a:ln w="9525" algn="ctr">
            <a:noFill/>
            <a:miter lim="800000"/>
          </a:ln>
          <a:effectLst/>
        </p:spPr>
        <p:txBody>
          <a:bodyPr vert="horz" wrap="square" lIns="0" tIns="0" rIns="0" bIns="0" numCol="1" anchor="ctr" anchorCtr="0" compatLnSpc="1"/>
          <a:lstStyle/>
          <a:p>
            <a:pPr lvl="0"/>
            <a:r>
              <a:rPr lang="ru-RU"/>
              <a:t>Образец заголовка</a:t>
            </a:r>
            <a:endParaRPr lang="ru-RU"/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8005763" y="106363"/>
            <a:ext cx="887412" cy="785812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</p:sldLayoutIdLst>
  <p:transition/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anose="020B0604020202090204" pitchFamily="34" charset="0"/>
          <a:cs typeface="Arial" panose="020B0604020202090204" pitchFamily="34" charset="0"/>
        </a:defRPr>
      </a:lvl9pPr>
    </p:titleStyle>
    <p:bodyStyle>
      <a:lvl1pPr marL="180975" indent="-180975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680" indent="-177800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605" algn="l" rtl="0" fontAlgn="base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60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03.xml"/><Relationship Id="rId1" Type="http://schemas.openxmlformats.org/officeDocument/2006/relationships/image" Target="../media/image31.png"/></Relationships>
</file>

<file path=ppt/slides/_rels/slide2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2.xml"/><Relationship Id="rId6" Type="http://schemas.openxmlformats.org/officeDocument/2006/relationships/vmlDrawing" Target="../drawings/vmlDrawing3.vml"/><Relationship Id="rId5" Type="http://schemas.openxmlformats.org/officeDocument/2006/relationships/slideLayout" Target="../slideLayouts/slideLayout203.xml"/><Relationship Id="rId4" Type="http://schemas.openxmlformats.org/officeDocument/2006/relationships/image" Target="../media/image33.jpeg"/><Relationship Id="rId3" Type="http://schemas.openxmlformats.org/officeDocument/2006/relationships/image" Target="../media/image32.png"/><Relationship Id="rId2" Type="http://schemas.openxmlformats.org/officeDocument/2006/relationships/oleObject" Target="../embeddings/oleObject3.bin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03.xml"/><Relationship Id="rId4" Type="http://schemas.openxmlformats.org/officeDocument/2006/relationships/image" Target="../media/image35.png"/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4.xml"/><Relationship Id="rId3" Type="http://schemas.openxmlformats.org/officeDocument/2006/relationships/slideLayout" Target="../slideLayouts/slideLayout203.xml"/><Relationship Id="rId2" Type="http://schemas.openxmlformats.org/officeDocument/2006/relationships/image" Target="../media/image33.jpeg"/><Relationship Id="rId1" Type="http://schemas.openxmlformats.org/officeDocument/2006/relationships/image" Target="../media/image32.png"/></Relationships>
</file>

<file path=ppt/slides/_rels/slide5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5.xml"/><Relationship Id="rId6" Type="http://schemas.openxmlformats.org/officeDocument/2006/relationships/slideLayout" Target="../slideLayouts/slideLayout203.xml"/><Relationship Id="rId5" Type="http://schemas.openxmlformats.org/officeDocument/2006/relationships/image" Target="../media/image38.png"/><Relationship Id="rId4" Type="http://schemas.openxmlformats.org/officeDocument/2006/relationships/image" Target="../media/image37.jpeg"/><Relationship Id="rId3" Type="http://schemas.openxmlformats.org/officeDocument/2006/relationships/image" Target="../media/image36.png"/><Relationship Id="rId2" Type="http://schemas.openxmlformats.org/officeDocument/2006/relationships/image" Target="../media/image33.jpeg"/><Relationship Id="rId1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b--sw3tSuYwFh9d4syvsTVb" hidden="1"/>
          <p:cNvSpPr>
            <a:spLocks noChangeArrowheads="1"/>
          </p:cNvSpPr>
          <p:nvPr/>
        </p:nvSpPr>
        <p:spPr bwMode="auto">
          <a:xfrm>
            <a:off x="63500" y="6731002"/>
            <a:ext cx="63500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642910" y="2357430"/>
            <a:ext cx="7929618" cy="35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defRPr>
            </a:lvl9pPr>
          </a:lstStyle>
          <a:p>
            <a:pPr algn="ctr" eaLnBrk="1" hangingPunct="1">
              <a:lnSpc>
                <a:spcPct val="130000"/>
              </a:lnSpc>
            </a:pPr>
            <a:r>
              <a:rPr lang="ru-RU" sz="3600" b="1" dirty="0">
                <a:solidFill>
                  <a:srgbClr val="2E658E"/>
                </a:solidFill>
              </a:rPr>
              <a:t>Эффективный регион</a:t>
            </a:r>
            <a:endParaRPr lang="ru-RU" sz="3600" b="1" dirty="0">
              <a:solidFill>
                <a:srgbClr val="2E658E"/>
              </a:solidFill>
            </a:endParaRPr>
          </a:p>
          <a:p>
            <a:pPr algn="ctr" eaLnBrk="1" hangingPunct="1">
              <a:lnSpc>
                <a:spcPct val="130000"/>
              </a:lnSpc>
            </a:pPr>
            <a:endParaRPr lang="ru-RU" sz="2400" b="1" dirty="0" smtClean="0">
              <a:solidFill>
                <a:srgbClr val="2E658E"/>
              </a:solidFill>
            </a:endParaRPr>
          </a:p>
          <a:p>
            <a:pPr algn="ctr" eaLnBrk="1" hangingPunct="1">
              <a:lnSpc>
                <a:spcPct val="130000"/>
              </a:lnSpc>
            </a:pPr>
            <a:r>
              <a:rPr lang="ru-RU" sz="2400" b="1" dirty="0" smtClean="0">
                <a:solidFill>
                  <a:srgbClr val="2E658E"/>
                </a:solidFill>
              </a:rPr>
              <a:t>ОКУ «Центр занятости населения</a:t>
            </a:r>
            <a:endParaRPr lang="ru-RU" sz="2400" b="1" dirty="0" smtClean="0">
              <a:solidFill>
                <a:srgbClr val="2E658E"/>
              </a:solidFill>
            </a:endParaRPr>
          </a:p>
          <a:p>
            <a:pPr algn="ctr" eaLnBrk="1" hangingPunct="1">
              <a:lnSpc>
                <a:spcPct val="130000"/>
              </a:lnSpc>
            </a:pPr>
            <a:r>
              <a:rPr lang="ru-RU" sz="2400" b="1" dirty="0" smtClean="0">
                <a:solidFill>
                  <a:srgbClr val="2E658E"/>
                </a:solidFill>
              </a:rPr>
              <a:t>города Щигры и </a:t>
            </a:r>
            <a:r>
              <a:rPr lang="ru-RU" sz="2400" b="1" dirty="0" err="1" smtClean="0">
                <a:solidFill>
                  <a:srgbClr val="2E658E"/>
                </a:solidFill>
              </a:rPr>
              <a:t>Щигровского</a:t>
            </a:r>
            <a:r>
              <a:rPr lang="ru-RU" sz="2400" b="1" dirty="0" smtClean="0">
                <a:solidFill>
                  <a:srgbClr val="2E658E"/>
                </a:solidFill>
              </a:rPr>
              <a:t> района»</a:t>
            </a:r>
            <a:endParaRPr lang="ru-RU" sz="2400" b="1" dirty="0">
              <a:solidFill>
                <a:srgbClr val="2E658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286248" y="6286520"/>
            <a:ext cx="9980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 smtClean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2021 </a:t>
            </a:r>
            <a:r>
              <a:rPr lang="ru-RU" sz="1600" dirty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год</a:t>
            </a:r>
            <a:endParaRPr lang="ru-RU" sz="1600" dirty="0">
              <a:solidFill>
                <a:srgbClr val="2E658E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8358" y="548680"/>
            <a:ext cx="1987284" cy="2304256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5" hidden="1"/>
          <p:cNvGraphicFramePr/>
          <p:nvPr>
            <p:custDataLst>
              <p:tags r:id="rId1"/>
            </p:custDataLst>
          </p:nvPr>
        </p:nvGraphicFramePr>
        <p:xfrm>
          <a:off x="-1464" y="0"/>
          <a:ext cx="15093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3" name="think-cell Slide" r:id="rId2" imgW="0" imgH="0" progId="">
                  <p:embed/>
                </p:oleObj>
              </mc:Choice>
              <mc:Fallback>
                <p:oleObj name="think-cell Slide" r:id="rId2" imgW="0" imgH="0" progId="">
                  <p:embed/>
                  <p:pic>
                    <p:nvPicPr>
                      <p:cNvPr id="0" name="AutoShape 6"/>
                      <p:cNvPicPr>
                        <a:picLocks noChangeArrowheads="1"/>
                      </p:cNvPicPr>
                      <p:nvPr/>
                    </p:nvPicPr>
                    <p:blipFill>
                      <a:blip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464" y="0"/>
                        <a:ext cx="150935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Рисунок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sp>
        <p:nvSpPr>
          <p:cNvPr id="28" name="Прямоугольник 2"/>
          <p:cNvSpPr/>
          <p:nvPr/>
        </p:nvSpPr>
        <p:spPr bwMode="auto">
          <a:xfrm>
            <a:off x="288922" y="1205307"/>
            <a:ext cx="4145575" cy="2232248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endParaRPr lang="ru-RU" sz="1300">
              <a:solidFill>
                <a:srgbClr val="003274">
                  <a:lumMod val="75000"/>
                </a:srgbClr>
              </a:solidFill>
              <a:latin typeface="Arial" panose="020B0604020202090204"/>
              <a:cs typeface="Arial" panose="020B0604020202090204"/>
            </a:endParaRPr>
          </a:p>
        </p:txBody>
      </p:sp>
      <p:sp>
        <p:nvSpPr>
          <p:cNvPr id="31" name="Прямоугольник 17"/>
          <p:cNvSpPr/>
          <p:nvPr/>
        </p:nvSpPr>
        <p:spPr bwMode="auto">
          <a:xfrm>
            <a:off x="288922" y="3626853"/>
            <a:ext cx="4140202" cy="2754475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3274">
                  <a:lumMod val="75000"/>
                </a:srgbClr>
              </a:solidFill>
              <a:latin typeface="Arial" panose="020B0604020202090204"/>
              <a:cs typeface="Arial" panose="020B0604020202090204"/>
            </a:endParaRPr>
          </a:p>
        </p:txBody>
      </p:sp>
      <p:sp>
        <p:nvSpPr>
          <p:cNvPr id="32" name="Прямоугольник 21"/>
          <p:cNvSpPr/>
          <p:nvPr/>
        </p:nvSpPr>
        <p:spPr bwMode="auto">
          <a:xfrm>
            <a:off x="4528068" y="1204431"/>
            <a:ext cx="4293160" cy="2232248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>
              <a:spcBef>
                <a:spcPts val="0"/>
              </a:spcBef>
              <a:spcAft>
                <a:spcPts val="0"/>
              </a:spcAft>
              <a:defRPr/>
            </a:pPr>
            <a:endParaRPr lang="ru-RU" sz="600" dirty="0">
              <a:solidFill>
                <a:schemeClr val="tx1"/>
              </a:solidFill>
              <a:latin typeface="Arial" panose="020B0604020202090204"/>
              <a:cs typeface="Arial" panose="020B0604020202090204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Arial" panose="020B0604020202090204"/>
              <a:cs typeface="Arial" panose="020B0604020202090204"/>
            </a:endParaRPr>
          </a:p>
          <a:p>
            <a:pPr marL="228600" indent="-228600" algn="just">
              <a:buFont typeface="+mj-lt"/>
              <a:buAutoNum type="arabicPeriod"/>
              <a:defRPr/>
            </a:pPr>
            <a:endParaRPr lang="ru-RU" sz="900" dirty="0">
              <a:solidFill>
                <a:schemeClr val="tx1"/>
              </a:solidFill>
              <a:latin typeface="Arial" panose="020B0604020202090204"/>
              <a:cs typeface="Arial" panose="020B0604020202090204"/>
            </a:endParaRPr>
          </a:p>
          <a:p>
            <a:pPr marL="228600" indent="-228600">
              <a:buAutoNum type="arabicPeriod"/>
            </a:pPr>
            <a:r>
              <a:rPr 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Отсутствие в базе данных ЦЗН работников необходимой работодателю квалификации</a:t>
            </a:r>
            <a:endParaRPr 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28600" indent="-228600">
              <a:buAutoNum type="arabicPeriod"/>
            </a:pPr>
            <a:r>
              <a:rPr 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Длительный срок информирования о новой вакансии</a:t>
            </a:r>
            <a:endParaRPr 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28600" indent="-228600">
              <a:buAutoNum type="arabicPeriod"/>
            </a:pPr>
            <a:r>
              <a:rPr 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Длительная процедура выдачи направления на собеседование</a:t>
            </a:r>
            <a:endParaRPr 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28600" indent="-228600">
              <a:buAutoNum type="arabicPeriod"/>
            </a:pPr>
            <a:r>
              <a:rPr 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Отсутствие сроков уведомления ЦЗН о результатах собеседования в случае отрицательного решения о трудоустройстве</a:t>
            </a:r>
            <a:endParaRPr 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33" name="Прямоугольник 22"/>
          <p:cNvSpPr/>
          <p:nvPr/>
        </p:nvSpPr>
        <p:spPr bwMode="auto">
          <a:xfrm>
            <a:off x="4567004" y="3626852"/>
            <a:ext cx="4293160" cy="2754475"/>
          </a:xfrm>
          <a:prstGeom prst="rect">
            <a:avLst/>
          </a:prstGeom>
          <a:solidFill>
            <a:schemeClr val="bg1"/>
          </a:solidFill>
          <a:ln>
            <a:solidFill>
              <a:srgbClr val="2E658E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3274">
                  <a:lumMod val="75000"/>
                </a:srgbClr>
              </a:solidFill>
              <a:latin typeface="Arial" panose="020B0604020202090204"/>
              <a:cs typeface="Arial" panose="020B0604020202090204"/>
            </a:endParaRPr>
          </a:p>
        </p:txBody>
      </p:sp>
      <p:sp>
        <p:nvSpPr>
          <p:cNvPr id="34" name="TextBox 19"/>
          <p:cNvSpPr/>
          <p:nvPr/>
        </p:nvSpPr>
        <p:spPr bwMode="auto">
          <a:xfrm>
            <a:off x="4563866" y="3661744"/>
            <a:ext cx="42338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800" b="1" u="sng">
                <a:solidFill>
                  <a:srgbClr val="3E87BD">
                    <a:lumMod val="75000"/>
                  </a:srgbClr>
                </a:solidFill>
              </a:defRPr>
            </a:lvl1pPr>
          </a:lstStyle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u="none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4</a:t>
            </a:r>
            <a:r>
              <a:rPr lang="ru-RU" sz="1000" u="none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. </a:t>
            </a:r>
            <a:r>
              <a:rPr lang="ru-RU" sz="1000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Ключевые события (КС) </a:t>
            </a:r>
            <a:endParaRPr dirty="0">
              <a:solidFill>
                <a:srgbClr val="2E658E"/>
              </a:solidFill>
            </a:endParaRPr>
          </a:p>
        </p:txBody>
      </p:sp>
      <p:sp>
        <p:nvSpPr>
          <p:cNvPr id="35" name="TextBox 20"/>
          <p:cNvSpPr/>
          <p:nvPr/>
        </p:nvSpPr>
        <p:spPr bwMode="auto">
          <a:xfrm>
            <a:off x="323528" y="3661745"/>
            <a:ext cx="410873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3</a:t>
            </a:r>
            <a:r>
              <a:rPr lang="ru-RU" sz="1000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. </a:t>
            </a:r>
            <a:r>
              <a:rPr lang="ru-RU" sz="1000" u="sng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Цели и плановый эффект</a:t>
            </a:r>
            <a:endParaRPr dirty="0">
              <a:solidFill>
                <a:srgbClr val="2E658E"/>
              </a:solidFill>
            </a:endParaRPr>
          </a:p>
        </p:txBody>
      </p:sp>
      <p:sp>
        <p:nvSpPr>
          <p:cNvPr id="36" name="TextBox 16"/>
          <p:cNvSpPr/>
          <p:nvPr/>
        </p:nvSpPr>
        <p:spPr bwMode="auto">
          <a:xfrm>
            <a:off x="4540411" y="1253188"/>
            <a:ext cx="42808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u="sng">
                <a:solidFill>
                  <a:srgbClr val="003274">
                    <a:lumMod val="75000"/>
                  </a:srgbClr>
                </a:solidFill>
              </a:defRPr>
            </a:lvl1pPr>
          </a:lstStyle>
          <a:p>
            <a:pPr>
              <a:defRPr/>
            </a:pPr>
            <a:r>
              <a:rPr lang="en-US" sz="1000" u="none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2</a:t>
            </a:r>
            <a:r>
              <a:rPr lang="ru-RU" sz="1000" u="none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. </a:t>
            </a:r>
            <a:r>
              <a:rPr lang="ru-RU" sz="1000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Обоснование выбора</a:t>
            </a:r>
            <a:endParaRPr dirty="0">
              <a:solidFill>
                <a:srgbClr val="2E658E"/>
              </a:solidFill>
            </a:endParaRPr>
          </a:p>
        </p:txBody>
      </p:sp>
      <p:sp>
        <p:nvSpPr>
          <p:cNvPr id="37" name="TextBox 23"/>
          <p:cNvSpPr/>
          <p:nvPr/>
        </p:nvSpPr>
        <p:spPr bwMode="auto">
          <a:xfrm>
            <a:off x="255889" y="1258488"/>
            <a:ext cx="42116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300" b="1" u="sng">
                <a:solidFill>
                  <a:srgbClr val="003274">
                    <a:lumMod val="75000"/>
                  </a:srgbClr>
                </a:solidFill>
              </a:defRPr>
            </a:lvl1pPr>
          </a:lstStyle>
          <a:p>
            <a:pPr>
              <a:defRPr/>
            </a:pPr>
            <a:r>
              <a:rPr lang="ru-RU" sz="1000" u="none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1. </a:t>
            </a:r>
            <a:r>
              <a:rPr lang="ru-RU" sz="1000" dirty="0">
                <a:solidFill>
                  <a:srgbClr val="2E658E"/>
                </a:solidFill>
                <a:latin typeface="Arial" panose="020B0604020202090204"/>
                <a:cs typeface="Arial" panose="020B0604020202090204"/>
              </a:rPr>
              <a:t>Вовлеченные лица и рамки проекта</a:t>
            </a:r>
            <a:endParaRPr dirty="0">
              <a:solidFill>
                <a:srgbClr val="2E658E"/>
              </a:solidFill>
            </a:endParaRPr>
          </a:p>
        </p:txBody>
      </p:sp>
      <p:sp>
        <p:nvSpPr>
          <p:cNvPr id="38" name="TextBox 65"/>
          <p:cNvSpPr txBox="1">
            <a:spLocks noChangeArrowheads="1"/>
          </p:cNvSpPr>
          <p:nvPr/>
        </p:nvSpPr>
        <p:spPr bwMode="auto">
          <a:xfrm>
            <a:off x="279514" y="1603762"/>
            <a:ext cx="4189875" cy="40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just"/>
            <a:r>
              <a:rPr lang="ru-RU" altLang="ru-RU" sz="1000" dirty="0">
                <a:solidFill>
                  <a:srgbClr val="2E658E"/>
                </a:solidFill>
                <a:cs typeface="Arial" panose="020B0604020202090204"/>
              </a:rPr>
              <a:t>Заказчик</a:t>
            </a:r>
            <a:r>
              <a:rPr lang="en-US" altLang="ru-RU" sz="1000" dirty="0">
                <a:solidFill>
                  <a:srgbClr val="2E658E"/>
                </a:solidFill>
                <a:cs typeface="Arial" panose="020B0604020202090204"/>
              </a:rPr>
              <a:t> </a:t>
            </a:r>
            <a:r>
              <a:rPr lang="ru-RU" altLang="ru-RU" sz="1000" dirty="0">
                <a:solidFill>
                  <a:srgbClr val="2E658E"/>
                </a:solidFill>
                <a:cs typeface="Arial" panose="020B0604020202090204"/>
              </a:rPr>
              <a:t>проекта</a:t>
            </a:r>
            <a:r>
              <a:rPr lang="en-US" altLang="ru-RU" sz="1000" u="none" dirty="0">
                <a:solidFill>
                  <a:srgbClr val="2E658E"/>
                </a:solidFill>
                <a:cs typeface="Arial" panose="020B0604020202090204"/>
              </a:rPr>
              <a:t>:</a:t>
            </a:r>
            <a:r>
              <a:rPr lang="ru-RU" altLang="ru-RU" sz="1000" u="none" dirty="0">
                <a:solidFill>
                  <a:srgbClr val="2E658E"/>
                </a:solidFill>
                <a:cs typeface="Arial" panose="020B0604020202090204"/>
              </a:rPr>
              <a:t> </a:t>
            </a:r>
            <a:r>
              <a:rPr lang="ru-RU" altLang="ru-RU" sz="1000" b="0" u="none" dirty="0"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ОКУ «ЦЗН города Щигры и Щигровского района» </a:t>
            </a:r>
            <a:endParaRPr lang="ru-RU" altLang="ru-RU" sz="1000" b="0" u="none" dirty="0">
              <a:solidFill>
                <a:schemeClr val="tx1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39" name="TextBox 65"/>
          <p:cNvSpPr txBox="1">
            <a:spLocks noChangeArrowheads="1"/>
          </p:cNvSpPr>
          <p:nvPr/>
        </p:nvSpPr>
        <p:spPr bwMode="auto">
          <a:xfrm>
            <a:off x="293875" y="2728725"/>
            <a:ext cx="4189875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8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just"/>
            <a:r>
              <a:rPr lang="ru-RU" altLang="ru-RU" sz="1000" dirty="0">
                <a:solidFill>
                  <a:srgbClr val="2E658E"/>
                </a:solidFill>
                <a:cs typeface="Arial" panose="020B0604020202090204"/>
              </a:rPr>
              <a:t>Команда проекта</a:t>
            </a:r>
            <a:r>
              <a:rPr lang="ru-RU" altLang="ru-RU" sz="1000" u="none" dirty="0">
                <a:solidFill>
                  <a:srgbClr val="2E658E"/>
                </a:solidFill>
                <a:cs typeface="Arial" panose="020B0604020202090204"/>
              </a:rPr>
              <a:t>: </a:t>
            </a:r>
            <a:r>
              <a:rPr lang="ru-RU" altLang="ru-RU" sz="1000" b="0" u="none" dirty="0"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Грошева Н.А</a:t>
            </a:r>
            <a:r>
              <a:rPr lang="ru-RU" altLang="ru-RU" sz="1000" b="0" u="none" dirty="0" smtClean="0"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., Лунева Н.А., Перелыгина </a:t>
            </a:r>
            <a:r>
              <a:rPr lang="ru-RU" altLang="ru-RU" sz="1000" b="0" u="none" dirty="0"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Е.Ю.</a:t>
            </a:r>
            <a:endParaRPr lang="ru-RU" altLang="ru-RU" sz="1000" b="0" u="none" dirty="0">
              <a:solidFill>
                <a:schemeClr val="tx1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40" name="TextBox 65"/>
          <p:cNvSpPr txBox="1">
            <a:spLocks noChangeArrowheads="1"/>
          </p:cNvSpPr>
          <p:nvPr/>
        </p:nvSpPr>
        <p:spPr bwMode="auto">
          <a:xfrm>
            <a:off x="290002" y="1972178"/>
            <a:ext cx="4203173" cy="40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just"/>
            <a:r>
              <a:rPr lang="ru-RU" altLang="ru-RU" sz="1000" dirty="0">
                <a:solidFill>
                  <a:srgbClr val="2E658E"/>
                </a:solidFill>
                <a:cs typeface="Arial" panose="020B0604020202090204"/>
              </a:rPr>
              <a:t>Периметр проекта</a:t>
            </a:r>
            <a:r>
              <a:rPr lang="en-US" altLang="ru-RU" sz="1000" u="none" dirty="0">
                <a:solidFill>
                  <a:srgbClr val="2E658E"/>
                </a:solidFill>
                <a:cs typeface="Arial" panose="020B0604020202090204"/>
              </a:rPr>
              <a:t>:</a:t>
            </a:r>
            <a:r>
              <a:rPr lang="ru-RU" altLang="ru-RU" sz="1000" b="0" u="none" dirty="0">
                <a:solidFill>
                  <a:srgbClr val="2E658E"/>
                </a:solidFill>
                <a:cs typeface="Arial" panose="020B0604020202090204"/>
              </a:rPr>
              <a:t> </a:t>
            </a:r>
            <a:r>
              <a:rPr lang="ru-RU" altLang="ru-RU" sz="1000" b="0" u="none" dirty="0"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ОКУ «ЦЗН города Щигры и Щигровского района» </a:t>
            </a:r>
            <a:endParaRPr lang="ru-RU" altLang="ru-RU" sz="1000" b="0" u="none" kern="0" dirty="0">
              <a:solidFill>
                <a:schemeClr val="tx1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41" name="TextBox 65"/>
          <p:cNvSpPr txBox="1">
            <a:spLocks noChangeArrowheads="1"/>
          </p:cNvSpPr>
          <p:nvPr/>
        </p:nvSpPr>
        <p:spPr bwMode="auto">
          <a:xfrm>
            <a:off x="293875" y="2300097"/>
            <a:ext cx="4131809" cy="40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 u="sng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algn="just" defTabSz="895985">
              <a:defRPr/>
            </a:pPr>
            <a:r>
              <a:rPr lang="ru-RU" altLang="ru-RU" sz="1000" dirty="0">
                <a:solidFill>
                  <a:srgbClr val="2E658E"/>
                </a:solidFill>
                <a:cs typeface="Arial" panose="020B0604020202090204"/>
              </a:rPr>
              <a:t>Руководитель ПСР-проекта</a:t>
            </a:r>
            <a:r>
              <a:rPr lang="ru-RU" altLang="ru-RU" sz="1000" u="none" dirty="0">
                <a:solidFill>
                  <a:srgbClr val="2E658E"/>
                </a:solidFill>
                <a:cs typeface="Arial" panose="020B0604020202090204"/>
              </a:rPr>
              <a:t>: </a:t>
            </a:r>
            <a:r>
              <a:rPr lang="ru-RU" altLang="ru-RU" sz="1000" b="0" u="none" dirty="0">
                <a:solidFill>
                  <a:schemeClr val="tx1"/>
                </a:solidFill>
              </a:rPr>
              <a:t>Директор ОКУ «</a:t>
            </a:r>
            <a:r>
              <a:rPr lang="ru-RU" altLang="ru-RU" sz="1000" b="0" u="none" dirty="0">
                <a:solidFill>
                  <a:schemeClr val="tx1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ЦЗН города Щигры и Щигровского района» Моисеев П.Ю.</a:t>
            </a:r>
            <a:endParaRPr lang="ru-RU" sz="1000" b="0" u="none" dirty="0">
              <a:solidFill>
                <a:schemeClr val="tx1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graphicFrame>
        <p:nvGraphicFramePr>
          <p:cNvPr id="42" name="Таблица 41"/>
          <p:cNvGraphicFramePr>
            <a:graphicFrameLocks noGrp="1"/>
          </p:cNvGraphicFramePr>
          <p:nvPr/>
        </p:nvGraphicFramePr>
        <p:xfrm>
          <a:off x="400430" y="4063596"/>
          <a:ext cx="3929089" cy="2148650"/>
        </p:xfrm>
        <a:graphic>
          <a:graphicData uri="http://schemas.openxmlformats.org/drawingml/2006/table">
            <a:tbl>
              <a:tblPr firstRow="1" bandRow="1"/>
              <a:tblGrid>
                <a:gridCol w="2007574"/>
                <a:gridCol w="961702"/>
                <a:gridCol w="959813"/>
              </a:tblGrid>
              <a:tr h="43505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Наименование цели</a:t>
                      </a:r>
                      <a:endParaRPr lang="ru-RU" sz="1000" b="1" u="non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Текущий показатель</a:t>
                      </a:r>
                      <a:endParaRPr lang="ru-RU" sz="1000" b="1" u="non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u="none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Целевой показатель</a:t>
                      </a:r>
                      <a:endParaRPr lang="ru-RU" sz="1000" b="1" u="non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1197">
                <a:tc>
                  <a:txBody>
                    <a:bodyPr/>
                    <a:lstStyle/>
                    <a:p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Сокращение времени информирования граждан о вакансии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7 дней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1 день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1197">
                <a:tc>
                  <a:txBody>
                    <a:bodyPr/>
                    <a:lstStyle/>
                    <a:p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Сокращение времени направления на собеседование граждан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7 дней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1 день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1197">
                <a:tc>
                  <a:txBody>
                    <a:bodyPr/>
                    <a:lstStyle/>
                    <a:p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Сокращение ВПП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635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12 дней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Arial" panose="020B0604020202090204" pitchFamily="34" charset="0"/>
                          <a:ea typeface="Calibri" panose="020F0502020204030204" pitchFamily="34" charset="0"/>
                          <a:cs typeface="Arial" panose="020B0604020202090204" pitchFamily="34" charset="0"/>
                        </a:rPr>
                        <a:t>6 дней</a:t>
                      </a:r>
                      <a:endParaRPr lang="ru-RU" sz="1000" kern="1200" baseline="0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Arial" panose="020B060402020209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93345" marR="93345" marT="47625" marB="46355" anchor="ctr">
                    <a:lnL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141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3" name="TextBox 14"/>
          <p:cNvSpPr txBox="1">
            <a:spLocks noChangeArrowheads="1"/>
          </p:cNvSpPr>
          <p:nvPr/>
        </p:nvSpPr>
        <p:spPr bwMode="auto">
          <a:xfrm>
            <a:off x="4588163" y="4063596"/>
            <a:ext cx="4178089" cy="150810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marL="228600" lvl="0" indent="-228600" eaLnBrk="0" hangingPunct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Старт проекта	14.07.2021</a:t>
            </a:r>
            <a:endParaRPr 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28600" lvl="0" indent="-228600" eaLnBrk="0" hangingPunct="0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tabLst>
                <a:tab pos="3952875" algn="r"/>
              </a:tabLst>
            </a:pPr>
            <a:r>
              <a:rPr 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Картирование текущего состояния процессов</a:t>
            </a: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: 	15.07.2021</a:t>
            </a:r>
            <a:endParaRPr lang="ru-RU" alt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marL="208280" lvl="0" indent="-208280" eaLnBrk="0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3.   Разработка целевого состояния и плана </a:t>
            </a:r>
            <a:b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</a:b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мероприятий:	 16.07.2021 </a:t>
            </a:r>
            <a:endParaRPr lang="ru-RU" alt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lvl="0" eaLnBrk="0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4.   Проведение </a:t>
            </a:r>
            <a:r>
              <a:rPr lang="en-US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Kick-off</a:t>
            </a: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	23.07.2021</a:t>
            </a:r>
            <a:endParaRPr lang="ru-RU" alt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lvl="0" eaLnBrk="0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5.   Реализация мероприятий проекта: 	 30.11.2021</a:t>
            </a:r>
            <a:endParaRPr lang="ru-RU" alt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  <a:p>
            <a:pPr lvl="0" eaLnBrk="0" hangingPunct="0">
              <a:spcBef>
                <a:spcPct val="40000"/>
              </a:spcBef>
              <a:spcAft>
                <a:spcPct val="20000"/>
              </a:spcAft>
              <a:tabLst>
                <a:tab pos="3952875" algn="r"/>
              </a:tabLst>
            </a:pP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6.   Закрепление результатов и закрытие проекта </a:t>
            </a:r>
            <a:r>
              <a:rPr lang="en-US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	</a:t>
            </a:r>
            <a:r>
              <a:rPr lang="ru-RU" altLang="ru-RU" sz="1000" dirty="0">
                <a:solidFill>
                  <a:schemeClr val="tx1">
                    <a:lumMod val="50000"/>
                  </a:schemeClr>
                </a:solidFill>
                <a:latin typeface="Arial" panose="020B0604020202090204" pitchFamily="34" charset="0"/>
                <a:cs typeface="Arial" panose="020B0604020202090204" pitchFamily="34" charset="0"/>
              </a:rPr>
              <a:t>24.12.2021</a:t>
            </a:r>
            <a:endParaRPr lang="ru-RU" altLang="ru-RU" sz="1000" dirty="0">
              <a:solidFill>
                <a:schemeClr val="tx1">
                  <a:lumMod val="50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1" name="Rectangle 3"/>
          <p:cNvSpPr txBox="1">
            <a:spLocks noChangeArrowheads="1"/>
          </p:cNvSpPr>
          <p:nvPr/>
        </p:nvSpPr>
        <p:spPr>
          <a:xfrm>
            <a:off x="779550" y="159533"/>
            <a:ext cx="7385494" cy="65004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b="1" dirty="0" smtClean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ПРС-проект: «Оптимизация механизмов подбора высококвалифицированного персонала»</a:t>
            </a:r>
            <a:endParaRPr lang="en-US" sz="2000" b="1" dirty="0">
              <a:solidFill>
                <a:srgbClr val="2E658E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4F25FE-31FB-4D95-9159-CD3AC039AFF6}" type="slidenum">
              <a:rPr lang="ru-RU" smtClean="0">
                <a:solidFill>
                  <a:srgbClr val="003274"/>
                </a:solidFill>
              </a:rPr>
            </a:fld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/>
        </p:nvSpPr>
        <p:spPr>
          <a:xfrm>
            <a:off x="426859" y="951486"/>
            <a:ext cx="8071738" cy="245266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ru-RU" sz="1200" dirty="0">
                <a:solidFill>
                  <a:srgbClr val="2E658E"/>
                </a:solidFill>
              </a:rPr>
              <a:t>Исходное состояние </a:t>
            </a:r>
            <a:r>
              <a:rPr lang="ru-RU" sz="1200" dirty="0" smtClean="0">
                <a:solidFill>
                  <a:srgbClr val="2E658E"/>
                </a:solidFill>
              </a:rPr>
              <a:t>процесса</a:t>
            </a:r>
            <a:endParaRPr lang="ru-RU" sz="1200" dirty="0" smtClean="0">
              <a:solidFill>
                <a:srgbClr val="2E658E"/>
              </a:solidFill>
            </a:endParaRP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pic>
        <p:nvPicPr>
          <p:cNvPr id="6210" name="Picture 66" descr="F:\Downloads\2022-03-03_17-15-34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402" y="1196752"/>
            <a:ext cx="8851195" cy="2952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4" name="TextBox 123"/>
          <p:cNvSpPr txBox="1"/>
          <p:nvPr/>
        </p:nvSpPr>
        <p:spPr>
          <a:xfrm>
            <a:off x="495043" y="4939846"/>
            <a:ext cx="4436997" cy="186512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Отсутствие </a:t>
            </a:r>
            <a:r>
              <a:rPr lang="ru-RU" sz="1600" dirty="0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в базе данных ЦЗН работников необходимой работодателю квалификации</a:t>
            </a:r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.</a:t>
            </a:r>
            <a:endParaRPr lang="ru-RU" sz="1600" dirty="0" smtClean="0">
              <a:solidFill>
                <a:schemeClr val="accent1">
                  <a:lumMod val="75000"/>
                </a:schemeClr>
              </a:solidFill>
              <a:latin typeface="Arial" panose="020B0604020202090204" pitchFamily="34" charset="0"/>
              <a:ea typeface="Montserrat" charset="0"/>
              <a:cs typeface="Arial" panose="020B0604020202090204" pitchFamily="34" charset="0"/>
            </a:endParaRPr>
          </a:p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§"/>
            </a:pPr>
            <a:endParaRPr lang="ru-RU" sz="1600" dirty="0" smtClean="0">
              <a:solidFill>
                <a:schemeClr val="accent1">
                  <a:lumMod val="75000"/>
                </a:schemeClr>
              </a:solidFill>
              <a:latin typeface="Arial" panose="020B0604020202090204" pitchFamily="34" charset="0"/>
              <a:ea typeface="Montserrat" charset="0"/>
              <a:cs typeface="Arial" panose="020B0604020202090204" pitchFamily="34" charset="0"/>
            </a:endParaRPr>
          </a:p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Длительный срок информирования о новой вакансии</a:t>
            </a:r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.</a:t>
            </a:r>
            <a:endParaRPr lang="ru-RU" sz="1600" dirty="0" smtClean="0">
              <a:solidFill>
                <a:schemeClr val="accent1">
                  <a:lumMod val="75000"/>
                </a:schemeClr>
              </a:solidFill>
              <a:latin typeface="Arial" panose="020B0604020202090204" pitchFamily="34" charset="0"/>
              <a:ea typeface="Montserrat" charset="0"/>
              <a:cs typeface="Arial" panose="020B0604020202090204" pitchFamily="34" charset="0"/>
            </a:endParaRPr>
          </a:p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§"/>
            </a:pPr>
            <a:endParaRPr lang="ru-RU" sz="1600" dirty="0">
              <a:solidFill>
                <a:schemeClr val="accent1">
                  <a:lumMod val="75000"/>
                </a:schemeClr>
              </a:solidFill>
              <a:latin typeface="Arial" panose="020B0604020202090204" pitchFamily="34" charset="0"/>
              <a:ea typeface="Montserrat" charset="0"/>
              <a:cs typeface="Arial" panose="020B0604020202090204" pitchFamily="34" charset="0"/>
            </a:endParaRPr>
          </a:p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Длительная </a:t>
            </a:r>
            <a:r>
              <a:rPr lang="ru-RU" sz="1600" dirty="0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процедура выдачи направления на собеседование</a:t>
            </a:r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.</a:t>
            </a:r>
            <a:endParaRPr lang="ru-RU" sz="1600" dirty="0">
              <a:solidFill>
                <a:schemeClr val="accent1">
                  <a:lumMod val="75000"/>
                </a:schemeClr>
              </a:solidFill>
              <a:latin typeface="Arial" panose="020B0604020202090204" pitchFamily="34" charset="0"/>
              <a:ea typeface="Montserrat" charset="0"/>
              <a:cs typeface="Arial" panose="020B0604020202090204" pitchFamily="34" charset="0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752154" y="4293096"/>
            <a:ext cx="2379686" cy="36933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ru-RU" dirty="0" smtClean="0"/>
              <a:t>Проблемы:</a:t>
            </a:r>
            <a:endParaRPr lang="ru-RU" dirty="0"/>
          </a:p>
        </p:txBody>
      </p:sp>
      <p:cxnSp>
        <p:nvCxnSpPr>
          <p:cNvPr id="135" name="Прямая соединительная линия 134"/>
          <p:cNvCxnSpPr/>
          <p:nvPr/>
        </p:nvCxnSpPr>
        <p:spPr>
          <a:xfrm>
            <a:off x="501743" y="4721724"/>
            <a:ext cx="1838009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Взрыв: 14 точек 2"/>
          <p:cNvSpPr/>
          <p:nvPr/>
        </p:nvSpPr>
        <p:spPr>
          <a:xfrm>
            <a:off x="443485" y="4320214"/>
            <a:ext cx="672131" cy="315096"/>
          </a:xfrm>
          <a:prstGeom prst="irregularSeal2">
            <a:avLst/>
          </a:prstGeom>
          <a:solidFill>
            <a:schemeClr val="bg1"/>
          </a:solidFill>
          <a:ln w="1905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400" b="1" kern="200" dirty="0">
              <a:solidFill>
                <a:schemeClr val="accent1">
                  <a:lumMod val="75000"/>
                </a:schemeClr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5720706" y="4293096"/>
            <a:ext cx="2379686" cy="36933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ru-RU" dirty="0" smtClean="0"/>
              <a:t>ВПП текущее:</a:t>
            </a:r>
            <a:endParaRPr lang="ru-RU" dirty="0"/>
          </a:p>
        </p:txBody>
      </p:sp>
      <p:cxnSp>
        <p:nvCxnSpPr>
          <p:cNvPr id="139" name="Прямая соединительная линия 138"/>
          <p:cNvCxnSpPr/>
          <p:nvPr/>
        </p:nvCxnSpPr>
        <p:spPr>
          <a:xfrm>
            <a:off x="5470295" y="4721724"/>
            <a:ext cx="1838009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211" name="Picture 67" descr="F:\Downloads\2022-03-03_17-26-39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4391" y="5013176"/>
            <a:ext cx="2857500" cy="1457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Прямая соединительная линия 14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3"/>
          <p:cNvSpPr txBox="1">
            <a:spLocks noChangeArrowheads="1"/>
          </p:cNvSpPr>
          <p:nvPr/>
        </p:nvSpPr>
        <p:spPr bwMode="auto">
          <a:xfrm>
            <a:off x="779550" y="159533"/>
            <a:ext cx="7385494" cy="65004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 smtClean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«Оптимизация механизмов подбора высококвалифицированного персонала»</a:t>
            </a:r>
            <a:endParaRPr lang="en-US" sz="2000" b="1" dirty="0">
              <a:solidFill>
                <a:srgbClr val="2E658E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17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</p:spPr>
        <p:txBody>
          <a:bodyPr/>
          <a:lstStyle/>
          <a:p>
            <a:r>
              <a:rPr lang="ru-RU" dirty="0" smtClean="0">
                <a:solidFill>
                  <a:srgbClr val="003274"/>
                </a:solidFill>
              </a:rPr>
              <a:t>3</a:t>
            </a:r>
            <a:endParaRPr lang="ru-RU" dirty="0">
              <a:solidFill>
                <a:srgbClr val="003274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8" name="Прямая соединительная линия 47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5"/>
          <p:cNvGraphicFramePr>
            <a:graphicFrameLocks noGrp="1"/>
          </p:cNvGraphicFramePr>
          <p:nvPr/>
        </p:nvGraphicFramePr>
        <p:xfrm>
          <a:off x="467545" y="1628800"/>
          <a:ext cx="8208912" cy="38884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97537"/>
                <a:gridCol w="1711375"/>
              </a:tblGrid>
              <a:tr h="423744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Мероприятия</a:t>
                      </a:r>
                      <a:endParaRPr lang="ru-RU" sz="1400" dirty="0"/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Статус выполнения</a:t>
                      </a:r>
                      <a:endParaRPr lang="ru-RU" sz="1400" dirty="0"/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498480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ассмотрение предложений по организации реестра высококвалифицированного персонала (РВП)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23744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Принятие решения по выбору организации РВП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423744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Ведение РВП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423744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Проведение тестирования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аботы с РВП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423744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Внесение предложений об изменении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в административный регламент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423744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Принятие изменения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в административный регламент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423744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Получение обратной связи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заявителей и безработных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423744">
                <a:tc>
                  <a:txBody>
                    <a:bodyPr/>
                    <a:lstStyle/>
                    <a:p>
                      <a:pPr marL="0" algn="just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Принятие решения </a:t>
                      </a:r>
                      <a:r>
                        <a:rPr lang="ru-RU" sz="1400" kern="1200" dirty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о возможных доработках РВП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ru-RU" sz="1400" kern="1200" dirty="0" smtClean="0">
                          <a:solidFill>
                            <a:srgbClr val="2E658E"/>
                          </a:solidFill>
                          <a:latin typeface="+mn-lt"/>
                          <a:ea typeface="+mn-ea"/>
                          <a:cs typeface="+mn-cs"/>
                        </a:rPr>
                        <a:t>реализовано</a:t>
                      </a:r>
                      <a:endParaRPr lang="ru-RU" sz="1400" kern="1200" dirty="0">
                        <a:solidFill>
                          <a:srgbClr val="2E658E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559420" y="983063"/>
            <a:ext cx="7776864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700" b="1" dirty="0">
                <a:solidFill>
                  <a:srgbClr val="2E658E"/>
                </a:solidFill>
              </a:rPr>
              <a:t>Мероприятия для реализации </a:t>
            </a:r>
            <a:r>
              <a:rPr lang="ru-RU" sz="1700" b="1" dirty="0" smtClean="0">
                <a:solidFill>
                  <a:srgbClr val="2E658E"/>
                </a:solidFill>
              </a:rPr>
              <a:t>проекта</a:t>
            </a:r>
            <a:endParaRPr lang="ru-RU" sz="1700" b="1" dirty="0">
              <a:solidFill>
                <a:srgbClr val="2E658E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779550" y="159533"/>
            <a:ext cx="7385494" cy="65004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 smtClean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«Оптимизация механизмов подбора высококвалифицированного персонала»</a:t>
            </a:r>
            <a:endParaRPr lang="en-US" sz="2000" b="1" dirty="0">
              <a:solidFill>
                <a:srgbClr val="2E658E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/>
          <p:cNvSpPr txBox="1"/>
          <p:nvPr/>
        </p:nvSpPr>
        <p:spPr>
          <a:xfrm>
            <a:off x="395536" y="928670"/>
            <a:ext cx="8071738" cy="262997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ru-RU" sz="1200" dirty="0" smtClean="0">
                <a:solidFill>
                  <a:srgbClr val="2E658E"/>
                </a:solidFill>
              </a:rPr>
              <a:t>Целевое </a:t>
            </a:r>
            <a:r>
              <a:rPr lang="ru-RU" sz="1200" dirty="0">
                <a:solidFill>
                  <a:srgbClr val="2E658E"/>
                </a:solidFill>
              </a:rPr>
              <a:t>состояние </a:t>
            </a:r>
            <a:r>
              <a:rPr lang="ru-RU" sz="1200" dirty="0" smtClean="0">
                <a:solidFill>
                  <a:srgbClr val="2E658E"/>
                </a:solidFill>
              </a:rPr>
              <a:t>процесса</a:t>
            </a:r>
            <a:endParaRPr lang="ru-RU" sz="1200" dirty="0" smtClean="0">
              <a:solidFill>
                <a:srgbClr val="2E658E"/>
              </a:solidFill>
            </a:endParaRP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7131" y="106910"/>
            <a:ext cx="608409" cy="701954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67" y="109322"/>
            <a:ext cx="692696" cy="692696"/>
          </a:xfrm>
          <a:prstGeom prst="rect">
            <a:avLst/>
          </a:prstGeom>
        </p:spPr>
      </p:pic>
      <p:sp>
        <p:nvSpPr>
          <p:cNvPr id="124" name="TextBox 123"/>
          <p:cNvSpPr txBox="1"/>
          <p:nvPr/>
        </p:nvSpPr>
        <p:spPr>
          <a:xfrm>
            <a:off x="495043" y="4939846"/>
            <a:ext cx="4436997" cy="175432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Заблаговременное </a:t>
            </a:r>
            <a:r>
              <a:rPr lang="ru-RU" sz="1200" dirty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создание и ведение реестра </a:t>
            </a:r>
            <a:r>
              <a:rPr lang="ru-RU" sz="1200" dirty="0" err="1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высоквалифицированного</a:t>
            </a:r>
            <a:r>
              <a:rPr lang="ru-RU" sz="1200" dirty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 персонала снизит время ожидания заявителя от момента подачи заявления до визита граждан в целях собеседования.</a:t>
            </a:r>
            <a:endParaRPr lang="ru-RU" sz="1200" dirty="0">
              <a:solidFill>
                <a:srgbClr val="2E658E"/>
              </a:solidFill>
              <a:latin typeface="Arial" panose="020B0604020202090204" pitchFamily="34" charset="0"/>
              <a:ea typeface="Montserrat" charset="0"/>
              <a:cs typeface="Arial" panose="020B0604020202090204" pitchFamily="34" charset="0"/>
            </a:endParaRPr>
          </a:p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Упрощаются </a:t>
            </a:r>
            <a:r>
              <a:rPr lang="ru-RU" sz="1200" dirty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процедуры взаимодействия с гражданами, внесенными в реестр высококвалифицированного персонала (не как с безработными).</a:t>
            </a:r>
            <a:endParaRPr lang="ru-RU" sz="1200" dirty="0">
              <a:solidFill>
                <a:srgbClr val="2E658E"/>
              </a:solidFill>
              <a:latin typeface="Arial" panose="020B0604020202090204" pitchFamily="34" charset="0"/>
              <a:ea typeface="Montserrat" charset="0"/>
              <a:cs typeface="Arial" panose="020B0604020202090204" pitchFamily="34" charset="0"/>
            </a:endParaRPr>
          </a:p>
          <a:p>
            <a:pPr marL="285750" indent="-285750">
              <a:lnSpc>
                <a:spcPct val="90000"/>
              </a:lnSpc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Исключаются </a:t>
            </a:r>
            <a:r>
              <a:rPr lang="ru-RU" sz="1200" dirty="0">
                <a:solidFill>
                  <a:srgbClr val="2E658E"/>
                </a:solidFill>
                <a:latin typeface="Arial" panose="020B0604020202090204" pitchFamily="34" charset="0"/>
                <a:ea typeface="Montserrat" charset="0"/>
                <a:cs typeface="Arial" panose="020B0604020202090204" pitchFamily="34" charset="0"/>
              </a:rPr>
              <a:t>процедуры выдачи направлений на вакансию и последующие процедуры контроля выданного направления.</a:t>
            </a:r>
            <a:endParaRPr lang="ru-RU" sz="1200" dirty="0">
              <a:solidFill>
                <a:srgbClr val="2E658E"/>
              </a:solidFill>
              <a:latin typeface="Arial" panose="020B0604020202090204" pitchFamily="34" charset="0"/>
              <a:ea typeface="Montserrat" charset="0"/>
              <a:cs typeface="Arial" panose="020B0604020202090204" pitchFamily="34" charset="0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752154" y="4293096"/>
            <a:ext cx="2019646" cy="36933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ru-RU" dirty="0" smtClean="0">
                <a:solidFill>
                  <a:srgbClr val="2E658E"/>
                </a:solidFill>
              </a:rPr>
              <a:t>Решения:</a:t>
            </a:r>
            <a:endParaRPr lang="ru-RU" dirty="0">
              <a:solidFill>
                <a:srgbClr val="2E658E"/>
              </a:solidFill>
            </a:endParaRPr>
          </a:p>
        </p:txBody>
      </p:sp>
      <p:cxnSp>
        <p:nvCxnSpPr>
          <p:cNvPr id="135" name="Прямая соединительная линия 134"/>
          <p:cNvCxnSpPr/>
          <p:nvPr/>
        </p:nvCxnSpPr>
        <p:spPr>
          <a:xfrm>
            <a:off x="501743" y="4721724"/>
            <a:ext cx="1838009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Box 137"/>
          <p:cNvSpPr txBox="1"/>
          <p:nvPr/>
        </p:nvSpPr>
        <p:spPr>
          <a:xfrm>
            <a:off x="5720706" y="4293096"/>
            <a:ext cx="2379686" cy="36933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685800" eaLnBrk="1" latinLnBrk="0" hangingPunct="1">
              <a:lnSpc>
                <a:spcPct val="90000"/>
              </a:lnSpc>
              <a:buNone/>
              <a:defRPr sz="2000" b="1">
                <a:solidFill>
                  <a:schemeClr val="accent1">
                    <a:lumMod val="75000"/>
                  </a:schemeClr>
                </a:solidFill>
                <a:latin typeface="Arial" panose="020B0604020202090204" pitchFamily="34" charset="0"/>
                <a:ea typeface="+mj-ea"/>
                <a:cs typeface="Arial" panose="020B0604020202090204" pitchFamily="34" charset="0"/>
              </a:defRPr>
            </a:lvl1pPr>
          </a:lstStyle>
          <a:p>
            <a:r>
              <a:rPr lang="ru-RU" dirty="0" smtClean="0">
                <a:solidFill>
                  <a:srgbClr val="2E658E"/>
                </a:solidFill>
              </a:rPr>
              <a:t>ВПП целевое:</a:t>
            </a:r>
            <a:endParaRPr lang="ru-RU" dirty="0">
              <a:solidFill>
                <a:srgbClr val="2E658E"/>
              </a:solidFill>
            </a:endParaRPr>
          </a:p>
        </p:txBody>
      </p:sp>
      <p:cxnSp>
        <p:nvCxnSpPr>
          <p:cNvPr id="139" name="Прямая соединительная линия 138"/>
          <p:cNvCxnSpPr/>
          <p:nvPr/>
        </p:nvCxnSpPr>
        <p:spPr>
          <a:xfrm>
            <a:off x="5470295" y="4721724"/>
            <a:ext cx="1838009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0" name="Picture 2" descr="F:\Downloads\2022-03-03_17-34-47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475" y="1204453"/>
            <a:ext cx="7521941" cy="3037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1" name="Picture 3" descr="F:\Downloads\depositphotos_84568290-stock-illustration-exclamation-sign-flat-eco-green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402"/>
          <a:stretch>
            <a:fillRect/>
          </a:stretch>
        </p:blipFill>
        <p:spPr bwMode="auto">
          <a:xfrm>
            <a:off x="473415" y="4282666"/>
            <a:ext cx="555089" cy="379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F:\Downloads\2022-03-03_17-40-02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088" y="4866398"/>
            <a:ext cx="2587939" cy="1708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Прямая соединительная линия 16"/>
          <p:cNvCxnSpPr/>
          <p:nvPr/>
        </p:nvCxnSpPr>
        <p:spPr>
          <a:xfrm>
            <a:off x="285720" y="928670"/>
            <a:ext cx="4320480" cy="0"/>
          </a:xfrm>
          <a:prstGeom prst="line">
            <a:avLst/>
          </a:prstGeom>
          <a:ln w="19050">
            <a:solidFill>
              <a:srgbClr val="2E65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F77C34-2D5A-4A96-B2FC-A5E7A210239A}" type="slidenum">
              <a:rPr lang="ru-RU" smtClean="0"/>
            </a:fld>
            <a:endParaRPr lang="ru-RU"/>
          </a:p>
        </p:txBody>
      </p:sp>
      <p:sp>
        <p:nvSpPr>
          <p:cNvPr id="19" name="Rectangle 3"/>
          <p:cNvSpPr txBox="1">
            <a:spLocks noChangeArrowheads="1"/>
          </p:cNvSpPr>
          <p:nvPr/>
        </p:nvSpPr>
        <p:spPr bwMode="auto">
          <a:xfrm>
            <a:off x="779550" y="159533"/>
            <a:ext cx="7385494" cy="650042"/>
          </a:xfrm>
          <a:prstGeom prst="rect">
            <a:avLst/>
          </a:prstGeom>
          <a:noFill/>
          <a:ln w="9525" algn="ctr">
            <a:noFill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 smtClean="0">
                <a:solidFill>
                  <a:srgbClr val="2E658E"/>
                </a:solidFill>
                <a:latin typeface="Arial" panose="020B0604020202090204" pitchFamily="34" charset="0"/>
                <a:cs typeface="Arial" panose="020B0604020202090204" pitchFamily="34" charset="0"/>
              </a:rPr>
              <a:t>«Оптимизация механизмов подбора высококвалифицированного персонала»</a:t>
            </a:r>
            <a:endParaRPr lang="en-US" sz="2000" b="1" dirty="0">
              <a:solidFill>
                <a:srgbClr val="2E658E"/>
              </a:solidFill>
              <a:latin typeface="Arial" panose="020B0604020202090204" pitchFamily="34" charset="0"/>
              <a:cs typeface="Arial" panose="020B0604020202090204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hinkcellActiveDocDoNotDelete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b-section81">
  <a:themeElements>
    <a:clrScheme name="b-section81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8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8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81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2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0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7_b-default">
  <a:themeElements>
    <a:clrScheme name="b-default 4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4596D1"/>
      </a:accent1>
      <a:accent2>
        <a:srgbClr val="003274"/>
      </a:accent2>
      <a:accent3>
        <a:srgbClr val="FFFFFF"/>
      </a:accent3>
      <a:accent4>
        <a:srgbClr val="363637"/>
      </a:accent4>
      <a:accent5>
        <a:srgbClr val="B0C9E5"/>
      </a:accent5>
      <a:accent6>
        <a:srgbClr val="002C68"/>
      </a:accent6>
      <a:hlink>
        <a:srgbClr val="025EA1"/>
      </a:hlink>
      <a:folHlink>
        <a:srgbClr val="6CAEDF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-content">
  <a:themeElements>
    <a:clrScheme name="b-conten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cont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conten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b-section33">
  <a:themeElements>
    <a:clrScheme name="b-section33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3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b-section31">
  <a:themeElements>
    <a:clrScheme name="b-section31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1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b-section32">
  <a:themeElements>
    <a:clrScheme name="b-section32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section32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66</Words>
  <Application>WPS Presentation</Application>
  <PresentationFormat>Экран (4:3)</PresentationFormat>
  <Paragraphs>137</Paragraphs>
  <Slides>5</Slides>
  <Notes>13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20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5</vt:i4>
      </vt:variant>
    </vt:vector>
  </HeadingPairs>
  <TitlesOfParts>
    <vt:vector size="39" baseType="lpstr">
      <vt:lpstr>Arial</vt:lpstr>
      <vt:lpstr>SimSun</vt:lpstr>
      <vt:lpstr>Wingdings</vt:lpstr>
      <vt:lpstr>Arial</vt:lpstr>
      <vt:lpstr>Calibri</vt:lpstr>
      <vt:lpstr>Helvetica Neue</vt:lpstr>
      <vt:lpstr>Montserrat</vt:lpstr>
      <vt:lpstr>苹方-简</vt:lpstr>
      <vt:lpstr>Calibri</vt:lpstr>
      <vt:lpstr>微软雅黑</vt:lpstr>
      <vt:lpstr>汉仪旗黑</vt:lpstr>
      <vt:lpstr>Arial Unicode MS</vt:lpstr>
      <vt:lpstr>Calibri Light</vt:lpstr>
      <vt:lpstr>宋体-简</vt:lpstr>
      <vt:lpstr>b-default</vt:lpstr>
      <vt:lpstr>b-content</vt:lpstr>
      <vt:lpstr>b-section33</vt:lpstr>
      <vt:lpstr>b-section31</vt:lpstr>
      <vt:lpstr>b-section32</vt:lpstr>
      <vt:lpstr>1_b-section32</vt:lpstr>
      <vt:lpstr>2_b-section32</vt:lpstr>
      <vt:lpstr>3_b-section32</vt:lpstr>
      <vt:lpstr>1_b-default</vt:lpstr>
      <vt:lpstr>3_b-default</vt:lpstr>
      <vt:lpstr>b-section81</vt:lpstr>
      <vt:lpstr>22_b-default</vt:lpstr>
      <vt:lpstr>4_b-default</vt:lpstr>
      <vt:lpstr>10_b-default</vt:lpstr>
      <vt:lpstr>14_b-default</vt:lpstr>
      <vt:lpstr>17_b-default</vt:lpstr>
      <vt:lpstr>16_b-default</vt:lpstr>
      <vt:lpstr>2_RDM027</vt:lpstr>
      <vt:lpstr>Тема Office</vt:lpstr>
      <vt:lpstr>5_b-default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Rosat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Egor Nazarov</dc:creator>
  <cp:lastModifiedBy>alexander</cp:lastModifiedBy>
  <cp:revision>5212</cp:revision>
  <cp:lastPrinted>2022-07-25T13:24:20Z</cp:lastPrinted>
  <dcterms:created xsi:type="dcterms:W3CDTF">2022-07-25T13:24:20Z</dcterms:created>
  <dcterms:modified xsi:type="dcterms:W3CDTF">2022-07-25T13:24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2FDFC25A4EEC44B95186AE3BA6EE45</vt:lpwstr>
  </property>
  <property fmtid="{D5CDD505-2E9C-101B-9397-08002B2CF9AE}" pid="3" name="KSOProductBuildVer">
    <vt:lpwstr>1033-3.2.0.6370</vt:lpwstr>
  </property>
</Properties>
</file>